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97" r:id="rId1"/>
  </p:sldMasterIdLst>
  <p:notesMasterIdLst>
    <p:notesMasterId r:id="rId10"/>
  </p:notesMasterIdLst>
  <p:handoutMasterIdLst>
    <p:handoutMasterId r:id="rId11"/>
  </p:handoutMasterIdLst>
  <p:sldIdLst>
    <p:sldId id="481" r:id="rId2"/>
    <p:sldId id="531" r:id="rId3"/>
    <p:sldId id="532" r:id="rId4"/>
    <p:sldId id="533" r:id="rId5"/>
    <p:sldId id="527" r:id="rId6"/>
    <p:sldId id="524" r:id="rId7"/>
    <p:sldId id="525" r:id="rId8"/>
    <p:sldId id="526" r:id="rId9"/>
  </p:sldIdLst>
  <p:sldSz cx="9144000" cy="5143500" type="screen16x9"/>
  <p:notesSz cx="6797675" cy="9926638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4" userDrawn="1">
          <p15:clr>
            <a:srgbClr val="A4A3A4"/>
          </p15:clr>
        </p15:guide>
        <p15:guide id="2" pos="432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pos="15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D5B5"/>
    <a:srgbClr val="0F0701"/>
    <a:srgbClr val="FFFD0F"/>
    <a:srgbClr val="EB7523"/>
    <a:srgbClr val="7F7F7F"/>
    <a:srgbClr val="D97523"/>
    <a:srgbClr val="FF6600"/>
    <a:srgbClr val="00FF99"/>
    <a:srgbClr val="F0E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94" autoAdjust="0"/>
    <p:restoredTop sz="94333" autoAdjust="0"/>
  </p:normalViewPr>
  <p:slideViewPr>
    <p:cSldViewPr snapToObjects="1">
      <p:cViewPr varScale="1">
        <p:scale>
          <a:sx n="153" d="100"/>
          <a:sy n="153" d="100"/>
        </p:scale>
        <p:origin x="427" y="86"/>
      </p:cViewPr>
      <p:guideLst>
        <p:guide orient="horz" pos="2884"/>
        <p:guide pos="432"/>
        <p:guide pos="2880"/>
        <p:guide pos="153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53" d="100"/>
          <a:sy n="53" d="100"/>
        </p:scale>
        <p:origin x="-2940" y="-102"/>
      </p:cViewPr>
      <p:guideLst>
        <p:guide orient="horz" pos="3127"/>
        <p:guide pos="214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97BF8A-3787-411A-8EF1-2AAAA9AADEB9}" type="doc">
      <dgm:prSet loTypeId="urn:microsoft.com/office/officeart/2009/3/layout/RandomtoResultProcess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zh-CN" altLang="en-US"/>
        </a:p>
      </dgm:t>
    </dgm:pt>
    <dgm:pt modelId="{283FA520-C089-4466-B7DE-B4042610A8EB}">
      <dgm:prSet phldrT="[文本]" custT="1"/>
      <dgm:spPr/>
      <dgm:t>
        <a:bodyPr/>
        <a:lstStyle/>
        <a:p>
          <a:r>
            <a:rPr lang="zh-CN" altLang="en-US" sz="2000" b="1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电话外呼</a:t>
          </a:r>
        </a:p>
      </dgm:t>
    </dgm:pt>
    <dgm:pt modelId="{2710A184-B8E0-4113-84FA-CFC5AA0E0A57}" type="parTrans" cxnId="{7CF0A264-9A73-4839-93E3-26D02454CE50}">
      <dgm:prSet/>
      <dgm:spPr/>
      <dgm:t>
        <a:bodyPr/>
        <a:lstStyle/>
        <a:p>
          <a:endParaRPr lang="zh-CN" altLang="en-US"/>
        </a:p>
      </dgm:t>
    </dgm:pt>
    <dgm:pt modelId="{9735F321-6184-4E7E-A9DD-0FC9AD18BDDB}" type="sibTrans" cxnId="{7CF0A264-9A73-4839-93E3-26D02454CE50}">
      <dgm:prSet/>
      <dgm:spPr/>
      <dgm:t>
        <a:bodyPr/>
        <a:lstStyle/>
        <a:p>
          <a:endParaRPr lang="zh-CN" altLang="en-US"/>
        </a:p>
      </dgm:t>
    </dgm:pt>
    <dgm:pt modelId="{5F0F1C04-8267-41FD-90A9-68077739F33B}">
      <dgm:prSet phldrT="[文本]" custT="1"/>
      <dgm:spPr/>
      <dgm:t>
        <a:bodyPr/>
        <a:lstStyle/>
        <a:p>
          <a:r>
            <a:rPr lang="zh-CN" altLang="en-US" sz="2000" b="1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资料回传</a:t>
          </a:r>
        </a:p>
      </dgm:t>
    </dgm:pt>
    <dgm:pt modelId="{B16D7508-557B-41C1-9396-23941FE43868}" type="parTrans" cxnId="{671D1F9C-C21E-4F6D-ACE9-1C1A84D90165}">
      <dgm:prSet/>
      <dgm:spPr/>
      <dgm:t>
        <a:bodyPr/>
        <a:lstStyle/>
        <a:p>
          <a:endParaRPr lang="zh-CN" altLang="en-US"/>
        </a:p>
      </dgm:t>
    </dgm:pt>
    <dgm:pt modelId="{7A62E81E-EC5D-4D99-9306-3B5B5602AF36}" type="sibTrans" cxnId="{671D1F9C-C21E-4F6D-ACE9-1C1A84D90165}">
      <dgm:prSet/>
      <dgm:spPr/>
      <dgm:t>
        <a:bodyPr/>
        <a:lstStyle/>
        <a:p>
          <a:endParaRPr lang="zh-CN" altLang="en-US"/>
        </a:p>
      </dgm:t>
    </dgm:pt>
    <dgm:pt modelId="{D3D5BC2D-DF33-4CDE-8BCF-43C427FA1900}">
      <dgm:prSet phldrT="[文本]" custT="1"/>
      <dgm:spPr/>
      <dgm:t>
        <a:bodyPr/>
        <a:lstStyle/>
        <a:p>
          <a:r>
            <a:rPr lang="zh-CN" altLang="en-US" sz="2000" b="1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个贷审批</a:t>
          </a:r>
        </a:p>
      </dgm:t>
    </dgm:pt>
    <dgm:pt modelId="{DB277359-04DA-483D-A245-905140A82B9E}" type="parTrans" cxnId="{CFFFAA0E-B751-4B5F-8A35-4035EC067421}">
      <dgm:prSet/>
      <dgm:spPr/>
      <dgm:t>
        <a:bodyPr/>
        <a:lstStyle/>
        <a:p>
          <a:endParaRPr lang="zh-CN" altLang="en-US"/>
        </a:p>
      </dgm:t>
    </dgm:pt>
    <dgm:pt modelId="{440D19DD-4BDE-4ECD-AB36-7D9D5B130B9A}" type="sibTrans" cxnId="{CFFFAA0E-B751-4B5F-8A35-4035EC067421}">
      <dgm:prSet/>
      <dgm:spPr/>
      <dgm:t>
        <a:bodyPr/>
        <a:lstStyle/>
        <a:p>
          <a:endParaRPr lang="zh-CN" altLang="en-US"/>
        </a:p>
      </dgm:t>
    </dgm:pt>
    <dgm:pt modelId="{7E6E800E-9540-449B-91F7-85E7F0A126E3}">
      <dgm:prSet phldrT="[文本]" custT="1"/>
      <dgm:spPr/>
      <dgm:t>
        <a:bodyPr/>
        <a:lstStyle/>
        <a:p>
          <a:r>
            <a:rPr lang="zh-CN" altLang="en-US" sz="2000" b="1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预约面签</a:t>
          </a:r>
        </a:p>
      </dgm:t>
    </dgm:pt>
    <dgm:pt modelId="{5CCDC15C-A684-456A-A469-927E181C251D}" type="parTrans" cxnId="{C1BEB54E-FEC3-45EB-9956-271BE2B07B55}">
      <dgm:prSet/>
      <dgm:spPr/>
      <dgm:t>
        <a:bodyPr/>
        <a:lstStyle/>
        <a:p>
          <a:endParaRPr lang="zh-CN" altLang="en-US"/>
        </a:p>
      </dgm:t>
    </dgm:pt>
    <dgm:pt modelId="{AAB3C936-3847-490B-B143-F3D021DFC99A}" type="sibTrans" cxnId="{C1BEB54E-FEC3-45EB-9956-271BE2B07B55}">
      <dgm:prSet/>
      <dgm:spPr/>
      <dgm:t>
        <a:bodyPr/>
        <a:lstStyle/>
        <a:p>
          <a:endParaRPr lang="zh-CN" altLang="en-US"/>
        </a:p>
      </dgm:t>
    </dgm:pt>
    <dgm:pt modelId="{0ABD8558-38C9-43FD-B4AD-33485947B416}">
      <dgm:prSet phldrT="[文本]" custT="1"/>
      <dgm:spPr/>
      <dgm:t>
        <a:bodyPr/>
        <a:lstStyle/>
        <a:p>
          <a:r>
            <a:rPr lang="zh-CN" altLang="en-US" sz="2000" b="1">
              <a:latin typeface="微软雅黑" panose="020B0503020204020204" pitchFamily="34" charset="-122"/>
              <a:ea typeface="微软雅黑" panose="020B0503020204020204" pitchFamily="34" charset="-122"/>
            </a:rPr>
            <a:t>出账放款</a:t>
          </a:r>
        </a:p>
      </dgm:t>
    </dgm:pt>
    <dgm:pt modelId="{F6495586-72ED-4888-8ABB-789D357D2EAB}" type="parTrans" cxnId="{0B673A0F-72A3-47AB-94BE-B50772739201}">
      <dgm:prSet/>
      <dgm:spPr/>
      <dgm:t>
        <a:bodyPr/>
        <a:lstStyle/>
        <a:p>
          <a:endParaRPr lang="zh-CN" altLang="en-US"/>
        </a:p>
      </dgm:t>
    </dgm:pt>
    <dgm:pt modelId="{3BFE0603-B3FC-47EE-9223-38AFFE318685}" type="sibTrans" cxnId="{0B673A0F-72A3-47AB-94BE-B50772739201}">
      <dgm:prSet/>
      <dgm:spPr/>
      <dgm:t>
        <a:bodyPr/>
        <a:lstStyle/>
        <a:p>
          <a:endParaRPr lang="zh-CN" altLang="en-US"/>
        </a:p>
      </dgm:t>
    </dgm:pt>
    <dgm:pt modelId="{92F698CB-B482-43C8-BBD8-F46086854A0D}" type="pres">
      <dgm:prSet presAssocID="{3F97BF8A-3787-411A-8EF1-2AAAA9AADEB9}" presName="Name0" presStyleCnt="0">
        <dgm:presLayoutVars>
          <dgm:dir/>
          <dgm:animOne val="branch"/>
          <dgm:animLvl val="lvl"/>
        </dgm:presLayoutVars>
      </dgm:prSet>
      <dgm:spPr/>
    </dgm:pt>
    <dgm:pt modelId="{2B745AAF-CFA7-4408-BEB3-3338D4CDA1D2}" type="pres">
      <dgm:prSet presAssocID="{283FA520-C089-4466-B7DE-B4042610A8EB}" presName="chaos" presStyleCnt="0"/>
      <dgm:spPr/>
    </dgm:pt>
    <dgm:pt modelId="{4D7E4C47-EFAB-4185-BA7C-29E1187DA83C}" type="pres">
      <dgm:prSet presAssocID="{283FA520-C089-4466-B7DE-B4042610A8EB}" presName="parTx1" presStyleLbl="revTx" presStyleIdx="0" presStyleCnt="4"/>
      <dgm:spPr/>
    </dgm:pt>
    <dgm:pt modelId="{56D12507-1DD0-4A8F-88F6-5C9A52715E5E}" type="pres">
      <dgm:prSet presAssocID="{283FA520-C089-4466-B7DE-B4042610A8EB}" presName="c1" presStyleLbl="node1" presStyleIdx="0" presStyleCnt="19"/>
      <dgm:spPr/>
    </dgm:pt>
    <dgm:pt modelId="{8F2EFE01-76D1-4375-ADAC-1EE5176C18F1}" type="pres">
      <dgm:prSet presAssocID="{283FA520-C089-4466-B7DE-B4042610A8EB}" presName="c2" presStyleLbl="node1" presStyleIdx="1" presStyleCnt="19"/>
      <dgm:spPr/>
    </dgm:pt>
    <dgm:pt modelId="{C0C03A20-659A-4F8F-A449-08B4DD269956}" type="pres">
      <dgm:prSet presAssocID="{283FA520-C089-4466-B7DE-B4042610A8EB}" presName="c3" presStyleLbl="node1" presStyleIdx="2" presStyleCnt="19"/>
      <dgm:spPr/>
    </dgm:pt>
    <dgm:pt modelId="{33400E19-D3B5-4EAD-8DC8-226E1DC0C5C3}" type="pres">
      <dgm:prSet presAssocID="{283FA520-C089-4466-B7DE-B4042610A8EB}" presName="c4" presStyleLbl="node1" presStyleIdx="3" presStyleCnt="19"/>
      <dgm:spPr/>
    </dgm:pt>
    <dgm:pt modelId="{D04B114F-2F84-4E4C-BE09-58AE2A6A3EE6}" type="pres">
      <dgm:prSet presAssocID="{283FA520-C089-4466-B7DE-B4042610A8EB}" presName="c5" presStyleLbl="node1" presStyleIdx="4" presStyleCnt="19"/>
      <dgm:spPr/>
    </dgm:pt>
    <dgm:pt modelId="{9CFD4F92-EEAA-49C7-B4EB-2D5AA8FAE643}" type="pres">
      <dgm:prSet presAssocID="{283FA520-C089-4466-B7DE-B4042610A8EB}" presName="c6" presStyleLbl="node1" presStyleIdx="5" presStyleCnt="19"/>
      <dgm:spPr/>
    </dgm:pt>
    <dgm:pt modelId="{4524500B-255A-4BEE-957D-C11D653A33D5}" type="pres">
      <dgm:prSet presAssocID="{283FA520-C089-4466-B7DE-B4042610A8EB}" presName="c7" presStyleLbl="node1" presStyleIdx="6" presStyleCnt="19"/>
      <dgm:spPr/>
    </dgm:pt>
    <dgm:pt modelId="{B4C8C227-C814-4833-8CF0-E6A70914F985}" type="pres">
      <dgm:prSet presAssocID="{283FA520-C089-4466-B7DE-B4042610A8EB}" presName="c8" presStyleLbl="node1" presStyleIdx="7" presStyleCnt="19"/>
      <dgm:spPr/>
    </dgm:pt>
    <dgm:pt modelId="{BAF9D3CF-1FE3-41AF-B910-E4CBD49F25A5}" type="pres">
      <dgm:prSet presAssocID="{283FA520-C089-4466-B7DE-B4042610A8EB}" presName="c9" presStyleLbl="node1" presStyleIdx="8" presStyleCnt="19"/>
      <dgm:spPr/>
    </dgm:pt>
    <dgm:pt modelId="{565F93BC-564C-4C77-8B7F-5803735ADD2F}" type="pres">
      <dgm:prSet presAssocID="{283FA520-C089-4466-B7DE-B4042610A8EB}" presName="c10" presStyleLbl="node1" presStyleIdx="9" presStyleCnt="19"/>
      <dgm:spPr/>
    </dgm:pt>
    <dgm:pt modelId="{2861D2CB-0940-4F93-B929-6E751292F8F0}" type="pres">
      <dgm:prSet presAssocID="{283FA520-C089-4466-B7DE-B4042610A8EB}" presName="c11" presStyleLbl="node1" presStyleIdx="10" presStyleCnt="19"/>
      <dgm:spPr/>
    </dgm:pt>
    <dgm:pt modelId="{3FAE3F0E-25FC-4E94-A6E2-5129DDB73B66}" type="pres">
      <dgm:prSet presAssocID="{283FA520-C089-4466-B7DE-B4042610A8EB}" presName="c12" presStyleLbl="node1" presStyleIdx="11" presStyleCnt="19"/>
      <dgm:spPr/>
    </dgm:pt>
    <dgm:pt modelId="{C761FE4A-B0E5-4DD3-A01E-B46DC0E2144C}" type="pres">
      <dgm:prSet presAssocID="{283FA520-C089-4466-B7DE-B4042610A8EB}" presName="c13" presStyleLbl="node1" presStyleIdx="12" presStyleCnt="19"/>
      <dgm:spPr/>
    </dgm:pt>
    <dgm:pt modelId="{7CA07AB0-3FC7-449A-8BDE-CD6B3C234540}" type="pres">
      <dgm:prSet presAssocID="{283FA520-C089-4466-B7DE-B4042610A8EB}" presName="c14" presStyleLbl="node1" presStyleIdx="13" presStyleCnt="19"/>
      <dgm:spPr/>
    </dgm:pt>
    <dgm:pt modelId="{09234D5F-390F-4A7A-8942-55306D6217C1}" type="pres">
      <dgm:prSet presAssocID="{283FA520-C089-4466-B7DE-B4042610A8EB}" presName="c15" presStyleLbl="node1" presStyleIdx="14" presStyleCnt="19"/>
      <dgm:spPr/>
    </dgm:pt>
    <dgm:pt modelId="{491DB650-650C-4BBF-A489-79B66B522D2B}" type="pres">
      <dgm:prSet presAssocID="{283FA520-C089-4466-B7DE-B4042610A8EB}" presName="c16" presStyleLbl="node1" presStyleIdx="15" presStyleCnt="19"/>
      <dgm:spPr/>
    </dgm:pt>
    <dgm:pt modelId="{BE21A740-9A24-4410-A386-EDB7FAFEF46F}" type="pres">
      <dgm:prSet presAssocID="{283FA520-C089-4466-B7DE-B4042610A8EB}" presName="c17" presStyleLbl="node1" presStyleIdx="16" presStyleCnt="19"/>
      <dgm:spPr/>
    </dgm:pt>
    <dgm:pt modelId="{33D76153-7A2C-4271-A1CA-957F1D912CF1}" type="pres">
      <dgm:prSet presAssocID="{283FA520-C089-4466-B7DE-B4042610A8EB}" presName="c18" presStyleLbl="node1" presStyleIdx="17" presStyleCnt="19"/>
      <dgm:spPr/>
    </dgm:pt>
    <dgm:pt modelId="{A7C4BFAD-9FA6-46D0-8DB7-0B3426955C52}" type="pres">
      <dgm:prSet presAssocID="{9735F321-6184-4E7E-A9DD-0FC9AD18BDDB}" presName="chevronComposite1" presStyleCnt="0"/>
      <dgm:spPr/>
    </dgm:pt>
    <dgm:pt modelId="{7953C6B7-92FF-49F2-8B86-FB06BFA9A691}" type="pres">
      <dgm:prSet presAssocID="{9735F321-6184-4E7E-A9DD-0FC9AD18BDDB}" presName="chevron1" presStyleLbl="sibTrans2D1" presStyleIdx="0" presStyleCnt="4"/>
      <dgm:spPr/>
    </dgm:pt>
    <dgm:pt modelId="{5458EA51-2D9D-4414-B67C-0ECDDA5D1D66}" type="pres">
      <dgm:prSet presAssocID="{9735F321-6184-4E7E-A9DD-0FC9AD18BDDB}" presName="spChevron1" presStyleCnt="0"/>
      <dgm:spPr/>
    </dgm:pt>
    <dgm:pt modelId="{B280993E-05CC-43A1-9939-8A97978A682B}" type="pres">
      <dgm:prSet presAssocID="{5F0F1C04-8267-41FD-90A9-68077739F33B}" presName="middle" presStyleCnt="0"/>
      <dgm:spPr/>
    </dgm:pt>
    <dgm:pt modelId="{C5F03B2F-00D3-48AF-8649-6CDB6351F0FD}" type="pres">
      <dgm:prSet presAssocID="{5F0F1C04-8267-41FD-90A9-68077739F33B}" presName="parTxMid" presStyleLbl="revTx" presStyleIdx="1" presStyleCnt="4"/>
      <dgm:spPr/>
    </dgm:pt>
    <dgm:pt modelId="{34381127-47C6-43C7-9868-FCE187C2EAA6}" type="pres">
      <dgm:prSet presAssocID="{5F0F1C04-8267-41FD-90A9-68077739F33B}" presName="spMid" presStyleCnt="0"/>
      <dgm:spPr/>
    </dgm:pt>
    <dgm:pt modelId="{0678B91E-3C4C-4DE0-A51F-19D38909192A}" type="pres">
      <dgm:prSet presAssocID="{7A62E81E-EC5D-4D99-9306-3B5B5602AF36}" presName="chevronComposite1" presStyleCnt="0"/>
      <dgm:spPr/>
    </dgm:pt>
    <dgm:pt modelId="{1A68D61A-0666-41D6-9669-ED9CB95D53A0}" type="pres">
      <dgm:prSet presAssocID="{7A62E81E-EC5D-4D99-9306-3B5B5602AF36}" presName="chevron1" presStyleLbl="sibTrans2D1" presStyleIdx="1" presStyleCnt="4"/>
      <dgm:spPr/>
    </dgm:pt>
    <dgm:pt modelId="{AE37476C-57FF-47A4-B3FF-F2044203C09E}" type="pres">
      <dgm:prSet presAssocID="{7A62E81E-EC5D-4D99-9306-3B5B5602AF36}" presName="spChevron1" presStyleCnt="0"/>
      <dgm:spPr/>
    </dgm:pt>
    <dgm:pt modelId="{F24F8381-6B7E-4AAF-B672-00B8FDE47BFA}" type="pres">
      <dgm:prSet presAssocID="{D3D5BC2D-DF33-4CDE-8BCF-43C427FA1900}" presName="middle" presStyleCnt="0"/>
      <dgm:spPr/>
    </dgm:pt>
    <dgm:pt modelId="{C2B7E997-D84A-4163-88B5-1F2B064BCD67}" type="pres">
      <dgm:prSet presAssocID="{D3D5BC2D-DF33-4CDE-8BCF-43C427FA1900}" presName="parTxMid" presStyleLbl="revTx" presStyleIdx="2" presStyleCnt="4"/>
      <dgm:spPr/>
    </dgm:pt>
    <dgm:pt modelId="{B86849B7-9A54-400C-AAFE-46F57DCB8451}" type="pres">
      <dgm:prSet presAssocID="{D3D5BC2D-DF33-4CDE-8BCF-43C427FA1900}" presName="spMid" presStyleCnt="0"/>
      <dgm:spPr/>
    </dgm:pt>
    <dgm:pt modelId="{BA13F561-9DD2-4164-A7E9-DAF507675205}" type="pres">
      <dgm:prSet presAssocID="{440D19DD-4BDE-4ECD-AB36-7D9D5B130B9A}" presName="chevronComposite1" presStyleCnt="0"/>
      <dgm:spPr/>
    </dgm:pt>
    <dgm:pt modelId="{CDE9B93E-859E-4A4C-8A2E-2101E2B2BC4A}" type="pres">
      <dgm:prSet presAssocID="{440D19DD-4BDE-4ECD-AB36-7D9D5B130B9A}" presName="chevron1" presStyleLbl="sibTrans2D1" presStyleIdx="2" presStyleCnt="4"/>
      <dgm:spPr/>
    </dgm:pt>
    <dgm:pt modelId="{2979A26F-4C27-4EC2-A59F-31093D7D8BFB}" type="pres">
      <dgm:prSet presAssocID="{440D19DD-4BDE-4ECD-AB36-7D9D5B130B9A}" presName="spChevron1" presStyleCnt="0"/>
      <dgm:spPr/>
    </dgm:pt>
    <dgm:pt modelId="{9ABAA740-EC3C-4CB5-88A2-10EC6209E77E}" type="pres">
      <dgm:prSet presAssocID="{7E6E800E-9540-449B-91F7-85E7F0A126E3}" presName="middle" presStyleCnt="0"/>
      <dgm:spPr/>
    </dgm:pt>
    <dgm:pt modelId="{4DE2693F-41DE-4944-8653-57B4390C1386}" type="pres">
      <dgm:prSet presAssocID="{7E6E800E-9540-449B-91F7-85E7F0A126E3}" presName="parTxMid" presStyleLbl="revTx" presStyleIdx="3" presStyleCnt="4"/>
      <dgm:spPr/>
    </dgm:pt>
    <dgm:pt modelId="{E2DAEAEC-4161-4E69-8B58-E025AAF3A784}" type="pres">
      <dgm:prSet presAssocID="{7E6E800E-9540-449B-91F7-85E7F0A126E3}" presName="spMid" presStyleCnt="0"/>
      <dgm:spPr/>
    </dgm:pt>
    <dgm:pt modelId="{B32F51C7-620C-4CAD-9DED-84DF020A6225}" type="pres">
      <dgm:prSet presAssocID="{AAB3C936-3847-490B-B143-F3D021DFC99A}" presName="chevronComposite1" presStyleCnt="0"/>
      <dgm:spPr/>
    </dgm:pt>
    <dgm:pt modelId="{16AB0E66-4443-4EFA-825E-158E99250094}" type="pres">
      <dgm:prSet presAssocID="{AAB3C936-3847-490B-B143-F3D021DFC99A}" presName="chevron1" presStyleLbl="sibTrans2D1" presStyleIdx="3" presStyleCnt="4"/>
      <dgm:spPr/>
    </dgm:pt>
    <dgm:pt modelId="{4E8BD9A5-65B5-45DC-B2B3-0944AAE33EB3}" type="pres">
      <dgm:prSet presAssocID="{AAB3C936-3847-490B-B143-F3D021DFC99A}" presName="spChevron1" presStyleCnt="0"/>
      <dgm:spPr/>
    </dgm:pt>
    <dgm:pt modelId="{9B9E1B32-9C3E-4D6E-99C5-94341EC50EE2}" type="pres">
      <dgm:prSet presAssocID="{0ABD8558-38C9-43FD-B4AD-33485947B416}" presName="last" presStyleCnt="0"/>
      <dgm:spPr/>
    </dgm:pt>
    <dgm:pt modelId="{A83EC85C-5B47-4763-AB87-0E229F3A150B}" type="pres">
      <dgm:prSet presAssocID="{0ABD8558-38C9-43FD-B4AD-33485947B416}" presName="circleTx" presStyleLbl="node1" presStyleIdx="18" presStyleCnt="19" custScaleX="95117"/>
      <dgm:spPr/>
    </dgm:pt>
    <dgm:pt modelId="{651EBFEE-0F22-40FB-90D1-EEB2320E053B}" type="pres">
      <dgm:prSet presAssocID="{0ABD8558-38C9-43FD-B4AD-33485947B416}" presName="spN" presStyleCnt="0"/>
      <dgm:spPr/>
    </dgm:pt>
  </dgm:ptLst>
  <dgm:cxnLst>
    <dgm:cxn modelId="{CFFFAA0E-B751-4B5F-8A35-4035EC067421}" srcId="{3F97BF8A-3787-411A-8EF1-2AAAA9AADEB9}" destId="{D3D5BC2D-DF33-4CDE-8BCF-43C427FA1900}" srcOrd="2" destOrd="0" parTransId="{DB277359-04DA-483D-A245-905140A82B9E}" sibTransId="{440D19DD-4BDE-4ECD-AB36-7D9D5B130B9A}"/>
    <dgm:cxn modelId="{0B673A0F-72A3-47AB-94BE-B50772739201}" srcId="{3F97BF8A-3787-411A-8EF1-2AAAA9AADEB9}" destId="{0ABD8558-38C9-43FD-B4AD-33485947B416}" srcOrd="4" destOrd="0" parTransId="{F6495586-72ED-4888-8ABB-789D357D2EAB}" sibTransId="{3BFE0603-B3FC-47EE-9223-38AFFE318685}"/>
    <dgm:cxn modelId="{0F4B9744-C0FE-46D0-A5C9-6EA2CD598813}" type="presOf" srcId="{5F0F1C04-8267-41FD-90A9-68077739F33B}" destId="{C5F03B2F-00D3-48AF-8649-6CDB6351F0FD}" srcOrd="0" destOrd="0" presId="urn:microsoft.com/office/officeart/2009/3/layout/RandomtoResultProcess"/>
    <dgm:cxn modelId="{7CF0A264-9A73-4839-93E3-26D02454CE50}" srcId="{3F97BF8A-3787-411A-8EF1-2AAAA9AADEB9}" destId="{283FA520-C089-4466-B7DE-B4042610A8EB}" srcOrd="0" destOrd="0" parTransId="{2710A184-B8E0-4113-84FA-CFC5AA0E0A57}" sibTransId="{9735F321-6184-4E7E-A9DD-0FC9AD18BDDB}"/>
    <dgm:cxn modelId="{C1BEB54E-FEC3-45EB-9956-271BE2B07B55}" srcId="{3F97BF8A-3787-411A-8EF1-2AAAA9AADEB9}" destId="{7E6E800E-9540-449B-91F7-85E7F0A126E3}" srcOrd="3" destOrd="0" parTransId="{5CCDC15C-A684-456A-A469-927E181C251D}" sibTransId="{AAB3C936-3847-490B-B143-F3D021DFC99A}"/>
    <dgm:cxn modelId="{671D1F9C-C21E-4F6D-ACE9-1C1A84D90165}" srcId="{3F97BF8A-3787-411A-8EF1-2AAAA9AADEB9}" destId="{5F0F1C04-8267-41FD-90A9-68077739F33B}" srcOrd="1" destOrd="0" parTransId="{B16D7508-557B-41C1-9396-23941FE43868}" sibTransId="{7A62E81E-EC5D-4D99-9306-3B5B5602AF36}"/>
    <dgm:cxn modelId="{8B4ADCA0-5DF4-42FC-9CA1-B459AB59A4E5}" type="presOf" srcId="{283FA520-C089-4466-B7DE-B4042610A8EB}" destId="{4D7E4C47-EFAB-4185-BA7C-29E1187DA83C}" srcOrd="0" destOrd="0" presId="urn:microsoft.com/office/officeart/2009/3/layout/RandomtoResultProcess"/>
    <dgm:cxn modelId="{2AA0E0A8-86BA-4A2B-855B-B12D0D263871}" type="presOf" srcId="{3F97BF8A-3787-411A-8EF1-2AAAA9AADEB9}" destId="{92F698CB-B482-43C8-BBD8-F46086854A0D}" srcOrd="0" destOrd="0" presId="urn:microsoft.com/office/officeart/2009/3/layout/RandomtoResultProcess"/>
    <dgm:cxn modelId="{4A0940B3-E4A0-4B62-B549-3D2E58382E9E}" type="presOf" srcId="{0ABD8558-38C9-43FD-B4AD-33485947B416}" destId="{A83EC85C-5B47-4763-AB87-0E229F3A150B}" srcOrd="0" destOrd="0" presId="urn:microsoft.com/office/officeart/2009/3/layout/RandomtoResultProcess"/>
    <dgm:cxn modelId="{E9E15ACA-12AE-4568-A12E-F536733915EF}" type="presOf" srcId="{7E6E800E-9540-449B-91F7-85E7F0A126E3}" destId="{4DE2693F-41DE-4944-8653-57B4390C1386}" srcOrd="0" destOrd="0" presId="urn:microsoft.com/office/officeart/2009/3/layout/RandomtoResultProcess"/>
    <dgm:cxn modelId="{516367DE-A05F-4016-AF00-2B41CC39A8B4}" type="presOf" srcId="{D3D5BC2D-DF33-4CDE-8BCF-43C427FA1900}" destId="{C2B7E997-D84A-4163-88B5-1F2B064BCD67}" srcOrd="0" destOrd="0" presId="urn:microsoft.com/office/officeart/2009/3/layout/RandomtoResultProcess"/>
    <dgm:cxn modelId="{B13CA3CD-BC5A-45A8-9B79-B1F2D7BD04A5}" type="presParOf" srcId="{92F698CB-B482-43C8-BBD8-F46086854A0D}" destId="{2B745AAF-CFA7-4408-BEB3-3338D4CDA1D2}" srcOrd="0" destOrd="0" presId="urn:microsoft.com/office/officeart/2009/3/layout/RandomtoResultProcess"/>
    <dgm:cxn modelId="{720668C4-3A79-4817-9F53-6717082C822C}" type="presParOf" srcId="{2B745AAF-CFA7-4408-BEB3-3338D4CDA1D2}" destId="{4D7E4C47-EFAB-4185-BA7C-29E1187DA83C}" srcOrd="0" destOrd="0" presId="urn:microsoft.com/office/officeart/2009/3/layout/RandomtoResultProcess"/>
    <dgm:cxn modelId="{7FADAD13-8A72-4497-981C-79BDE989B5CE}" type="presParOf" srcId="{2B745AAF-CFA7-4408-BEB3-3338D4CDA1D2}" destId="{56D12507-1DD0-4A8F-88F6-5C9A52715E5E}" srcOrd="1" destOrd="0" presId="urn:microsoft.com/office/officeart/2009/3/layout/RandomtoResultProcess"/>
    <dgm:cxn modelId="{8634A96B-30B8-4746-B058-5A6184353452}" type="presParOf" srcId="{2B745AAF-CFA7-4408-BEB3-3338D4CDA1D2}" destId="{8F2EFE01-76D1-4375-ADAC-1EE5176C18F1}" srcOrd="2" destOrd="0" presId="urn:microsoft.com/office/officeart/2009/3/layout/RandomtoResultProcess"/>
    <dgm:cxn modelId="{84F3947A-9E58-43BC-AF87-BBEF62AB4935}" type="presParOf" srcId="{2B745AAF-CFA7-4408-BEB3-3338D4CDA1D2}" destId="{C0C03A20-659A-4F8F-A449-08B4DD269956}" srcOrd="3" destOrd="0" presId="urn:microsoft.com/office/officeart/2009/3/layout/RandomtoResultProcess"/>
    <dgm:cxn modelId="{AB64E26E-521B-4A38-A64A-700B31875366}" type="presParOf" srcId="{2B745AAF-CFA7-4408-BEB3-3338D4CDA1D2}" destId="{33400E19-D3B5-4EAD-8DC8-226E1DC0C5C3}" srcOrd="4" destOrd="0" presId="urn:microsoft.com/office/officeart/2009/3/layout/RandomtoResultProcess"/>
    <dgm:cxn modelId="{C3BEF230-1024-4779-9BE1-BB2D2E61BAC2}" type="presParOf" srcId="{2B745AAF-CFA7-4408-BEB3-3338D4CDA1D2}" destId="{D04B114F-2F84-4E4C-BE09-58AE2A6A3EE6}" srcOrd="5" destOrd="0" presId="urn:microsoft.com/office/officeart/2009/3/layout/RandomtoResultProcess"/>
    <dgm:cxn modelId="{7695F4DD-A20B-4EE0-8E83-06981605DCC6}" type="presParOf" srcId="{2B745AAF-CFA7-4408-BEB3-3338D4CDA1D2}" destId="{9CFD4F92-EEAA-49C7-B4EB-2D5AA8FAE643}" srcOrd="6" destOrd="0" presId="urn:microsoft.com/office/officeart/2009/3/layout/RandomtoResultProcess"/>
    <dgm:cxn modelId="{B316EEC3-329C-4A89-AD2D-7DCB1C37263B}" type="presParOf" srcId="{2B745AAF-CFA7-4408-BEB3-3338D4CDA1D2}" destId="{4524500B-255A-4BEE-957D-C11D653A33D5}" srcOrd="7" destOrd="0" presId="urn:microsoft.com/office/officeart/2009/3/layout/RandomtoResultProcess"/>
    <dgm:cxn modelId="{CB8EB324-29F5-4F7B-A3AC-BCD02F762AFB}" type="presParOf" srcId="{2B745AAF-CFA7-4408-BEB3-3338D4CDA1D2}" destId="{B4C8C227-C814-4833-8CF0-E6A70914F985}" srcOrd="8" destOrd="0" presId="urn:microsoft.com/office/officeart/2009/3/layout/RandomtoResultProcess"/>
    <dgm:cxn modelId="{22BD223B-01C0-44BB-9CBF-813DDFD36CFF}" type="presParOf" srcId="{2B745AAF-CFA7-4408-BEB3-3338D4CDA1D2}" destId="{BAF9D3CF-1FE3-41AF-B910-E4CBD49F25A5}" srcOrd="9" destOrd="0" presId="urn:microsoft.com/office/officeart/2009/3/layout/RandomtoResultProcess"/>
    <dgm:cxn modelId="{BED77768-CB9F-41A8-A0DE-F7DAAE7298BB}" type="presParOf" srcId="{2B745AAF-CFA7-4408-BEB3-3338D4CDA1D2}" destId="{565F93BC-564C-4C77-8B7F-5803735ADD2F}" srcOrd="10" destOrd="0" presId="urn:microsoft.com/office/officeart/2009/3/layout/RandomtoResultProcess"/>
    <dgm:cxn modelId="{E7216169-F92B-44B4-96AC-3C866D46EDFF}" type="presParOf" srcId="{2B745AAF-CFA7-4408-BEB3-3338D4CDA1D2}" destId="{2861D2CB-0940-4F93-B929-6E751292F8F0}" srcOrd="11" destOrd="0" presId="urn:microsoft.com/office/officeart/2009/3/layout/RandomtoResultProcess"/>
    <dgm:cxn modelId="{50D0D929-85B0-4E87-A473-4B4F15BF7444}" type="presParOf" srcId="{2B745AAF-CFA7-4408-BEB3-3338D4CDA1D2}" destId="{3FAE3F0E-25FC-4E94-A6E2-5129DDB73B66}" srcOrd="12" destOrd="0" presId="urn:microsoft.com/office/officeart/2009/3/layout/RandomtoResultProcess"/>
    <dgm:cxn modelId="{71F6EE61-DF6D-4A5F-B3CF-D760547DD58D}" type="presParOf" srcId="{2B745AAF-CFA7-4408-BEB3-3338D4CDA1D2}" destId="{C761FE4A-B0E5-4DD3-A01E-B46DC0E2144C}" srcOrd="13" destOrd="0" presId="urn:microsoft.com/office/officeart/2009/3/layout/RandomtoResultProcess"/>
    <dgm:cxn modelId="{E706EEE3-4F50-4E09-A58C-B57F9A1F15AD}" type="presParOf" srcId="{2B745AAF-CFA7-4408-BEB3-3338D4CDA1D2}" destId="{7CA07AB0-3FC7-449A-8BDE-CD6B3C234540}" srcOrd="14" destOrd="0" presId="urn:microsoft.com/office/officeart/2009/3/layout/RandomtoResultProcess"/>
    <dgm:cxn modelId="{BA3FFA29-9989-40BA-BE5D-2CFECB040B38}" type="presParOf" srcId="{2B745AAF-CFA7-4408-BEB3-3338D4CDA1D2}" destId="{09234D5F-390F-4A7A-8942-55306D6217C1}" srcOrd="15" destOrd="0" presId="urn:microsoft.com/office/officeart/2009/3/layout/RandomtoResultProcess"/>
    <dgm:cxn modelId="{8CBCD813-8046-4F33-B522-CB39E196116B}" type="presParOf" srcId="{2B745AAF-CFA7-4408-BEB3-3338D4CDA1D2}" destId="{491DB650-650C-4BBF-A489-79B66B522D2B}" srcOrd="16" destOrd="0" presId="urn:microsoft.com/office/officeart/2009/3/layout/RandomtoResultProcess"/>
    <dgm:cxn modelId="{231A78FB-1DD8-442D-B544-D5814479CC48}" type="presParOf" srcId="{2B745AAF-CFA7-4408-BEB3-3338D4CDA1D2}" destId="{BE21A740-9A24-4410-A386-EDB7FAFEF46F}" srcOrd="17" destOrd="0" presId="urn:microsoft.com/office/officeart/2009/3/layout/RandomtoResultProcess"/>
    <dgm:cxn modelId="{D1B01D0F-C840-4AC5-825E-AFABD233BAD2}" type="presParOf" srcId="{2B745AAF-CFA7-4408-BEB3-3338D4CDA1D2}" destId="{33D76153-7A2C-4271-A1CA-957F1D912CF1}" srcOrd="18" destOrd="0" presId="urn:microsoft.com/office/officeart/2009/3/layout/RandomtoResultProcess"/>
    <dgm:cxn modelId="{4EDD5A78-D6AB-4BEE-BCA5-261C6F3FE5B6}" type="presParOf" srcId="{92F698CB-B482-43C8-BBD8-F46086854A0D}" destId="{A7C4BFAD-9FA6-46D0-8DB7-0B3426955C52}" srcOrd="1" destOrd="0" presId="urn:microsoft.com/office/officeart/2009/3/layout/RandomtoResultProcess"/>
    <dgm:cxn modelId="{6D180032-96EA-4EC4-8C87-C02EDA7A99AB}" type="presParOf" srcId="{A7C4BFAD-9FA6-46D0-8DB7-0B3426955C52}" destId="{7953C6B7-92FF-49F2-8B86-FB06BFA9A691}" srcOrd="0" destOrd="0" presId="urn:microsoft.com/office/officeart/2009/3/layout/RandomtoResultProcess"/>
    <dgm:cxn modelId="{FE840186-707A-4157-A032-A919BD382364}" type="presParOf" srcId="{A7C4BFAD-9FA6-46D0-8DB7-0B3426955C52}" destId="{5458EA51-2D9D-4414-B67C-0ECDDA5D1D66}" srcOrd="1" destOrd="0" presId="urn:microsoft.com/office/officeart/2009/3/layout/RandomtoResultProcess"/>
    <dgm:cxn modelId="{75C9BB08-C10C-44A6-850B-7C7BCC9A737C}" type="presParOf" srcId="{92F698CB-B482-43C8-BBD8-F46086854A0D}" destId="{B280993E-05CC-43A1-9939-8A97978A682B}" srcOrd="2" destOrd="0" presId="urn:microsoft.com/office/officeart/2009/3/layout/RandomtoResultProcess"/>
    <dgm:cxn modelId="{69B223F1-F27F-4EC9-9694-EA3678AB30A6}" type="presParOf" srcId="{B280993E-05CC-43A1-9939-8A97978A682B}" destId="{C5F03B2F-00D3-48AF-8649-6CDB6351F0FD}" srcOrd="0" destOrd="0" presId="urn:microsoft.com/office/officeart/2009/3/layout/RandomtoResultProcess"/>
    <dgm:cxn modelId="{7EA20B61-DABD-4850-948E-51971965CB38}" type="presParOf" srcId="{B280993E-05CC-43A1-9939-8A97978A682B}" destId="{34381127-47C6-43C7-9868-FCE187C2EAA6}" srcOrd="1" destOrd="0" presId="urn:microsoft.com/office/officeart/2009/3/layout/RandomtoResultProcess"/>
    <dgm:cxn modelId="{0A505914-2F4F-40B0-A61F-3C220583845D}" type="presParOf" srcId="{92F698CB-B482-43C8-BBD8-F46086854A0D}" destId="{0678B91E-3C4C-4DE0-A51F-19D38909192A}" srcOrd="3" destOrd="0" presId="urn:microsoft.com/office/officeart/2009/3/layout/RandomtoResultProcess"/>
    <dgm:cxn modelId="{46EEFFDA-0CFD-4CDD-97F4-0E1B0965048A}" type="presParOf" srcId="{0678B91E-3C4C-4DE0-A51F-19D38909192A}" destId="{1A68D61A-0666-41D6-9669-ED9CB95D53A0}" srcOrd="0" destOrd="0" presId="urn:microsoft.com/office/officeart/2009/3/layout/RandomtoResultProcess"/>
    <dgm:cxn modelId="{11FD85AD-772F-48D8-86DB-327FF8B7670B}" type="presParOf" srcId="{0678B91E-3C4C-4DE0-A51F-19D38909192A}" destId="{AE37476C-57FF-47A4-B3FF-F2044203C09E}" srcOrd="1" destOrd="0" presId="urn:microsoft.com/office/officeart/2009/3/layout/RandomtoResultProcess"/>
    <dgm:cxn modelId="{2C82C6C0-0030-4831-998C-3184135BA9EA}" type="presParOf" srcId="{92F698CB-B482-43C8-BBD8-F46086854A0D}" destId="{F24F8381-6B7E-4AAF-B672-00B8FDE47BFA}" srcOrd="4" destOrd="0" presId="urn:microsoft.com/office/officeart/2009/3/layout/RandomtoResultProcess"/>
    <dgm:cxn modelId="{7DE3AA80-C678-4BC9-971E-C76A5645A888}" type="presParOf" srcId="{F24F8381-6B7E-4AAF-B672-00B8FDE47BFA}" destId="{C2B7E997-D84A-4163-88B5-1F2B064BCD67}" srcOrd="0" destOrd="0" presId="urn:microsoft.com/office/officeart/2009/3/layout/RandomtoResultProcess"/>
    <dgm:cxn modelId="{7F76DD0C-8264-4866-AF98-9DDE96E6F872}" type="presParOf" srcId="{F24F8381-6B7E-4AAF-B672-00B8FDE47BFA}" destId="{B86849B7-9A54-400C-AAFE-46F57DCB8451}" srcOrd="1" destOrd="0" presId="urn:microsoft.com/office/officeart/2009/3/layout/RandomtoResultProcess"/>
    <dgm:cxn modelId="{221C5395-7C0E-4B93-AACA-16A4C5C5A2B9}" type="presParOf" srcId="{92F698CB-B482-43C8-BBD8-F46086854A0D}" destId="{BA13F561-9DD2-4164-A7E9-DAF507675205}" srcOrd="5" destOrd="0" presId="urn:microsoft.com/office/officeart/2009/3/layout/RandomtoResultProcess"/>
    <dgm:cxn modelId="{540D4C02-2AD8-46AE-B6C6-CA6574D368E2}" type="presParOf" srcId="{BA13F561-9DD2-4164-A7E9-DAF507675205}" destId="{CDE9B93E-859E-4A4C-8A2E-2101E2B2BC4A}" srcOrd="0" destOrd="0" presId="urn:microsoft.com/office/officeart/2009/3/layout/RandomtoResultProcess"/>
    <dgm:cxn modelId="{0BD9E3B2-9D3B-4141-8604-0087FBF68EF6}" type="presParOf" srcId="{BA13F561-9DD2-4164-A7E9-DAF507675205}" destId="{2979A26F-4C27-4EC2-A59F-31093D7D8BFB}" srcOrd="1" destOrd="0" presId="urn:microsoft.com/office/officeart/2009/3/layout/RandomtoResultProcess"/>
    <dgm:cxn modelId="{9828488F-411B-4CD7-B2B8-E6FF3C76F2C2}" type="presParOf" srcId="{92F698CB-B482-43C8-BBD8-F46086854A0D}" destId="{9ABAA740-EC3C-4CB5-88A2-10EC6209E77E}" srcOrd="6" destOrd="0" presId="urn:microsoft.com/office/officeart/2009/3/layout/RandomtoResultProcess"/>
    <dgm:cxn modelId="{75987823-170E-4E32-A313-6AC135BA72AF}" type="presParOf" srcId="{9ABAA740-EC3C-4CB5-88A2-10EC6209E77E}" destId="{4DE2693F-41DE-4944-8653-57B4390C1386}" srcOrd="0" destOrd="0" presId="urn:microsoft.com/office/officeart/2009/3/layout/RandomtoResultProcess"/>
    <dgm:cxn modelId="{79B1207A-1F84-4A8B-BD3F-9183EF388E79}" type="presParOf" srcId="{9ABAA740-EC3C-4CB5-88A2-10EC6209E77E}" destId="{E2DAEAEC-4161-4E69-8B58-E025AAF3A784}" srcOrd="1" destOrd="0" presId="urn:microsoft.com/office/officeart/2009/3/layout/RandomtoResultProcess"/>
    <dgm:cxn modelId="{973CB5E2-8807-4177-8D24-09D29DC5F0AA}" type="presParOf" srcId="{92F698CB-B482-43C8-BBD8-F46086854A0D}" destId="{B32F51C7-620C-4CAD-9DED-84DF020A6225}" srcOrd="7" destOrd="0" presId="urn:microsoft.com/office/officeart/2009/3/layout/RandomtoResultProcess"/>
    <dgm:cxn modelId="{E41EEFC1-9603-410F-80BB-14D88F9B5783}" type="presParOf" srcId="{B32F51C7-620C-4CAD-9DED-84DF020A6225}" destId="{16AB0E66-4443-4EFA-825E-158E99250094}" srcOrd="0" destOrd="0" presId="urn:microsoft.com/office/officeart/2009/3/layout/RandomtoResultProcess"/>
    <dgm:cxn modelId="{DE04F17D-CD19-4569-A008-8132E06AA21A}" type="presParOf" srcId="{B32F51C7-620C-4CAD-9DED-84DF020A6225}" destId="{4E8BD9A5-65B5-45DC-B2B3-0944AAE33EB3}" srcOrd="1" destOrd="0" presId="urn:microsoft.com/office/officeart/2009/3/layout/RandomtoResultProcess"/>
    <dgm:cxn modelId="{77168DEF-AC29-448D-BF52-1276B759A675}" type="presParOf" srcId="{92F698CB-B482-43C8-BBD8-F46086854A0D}" destId="{9B9E1B32-9C3E-4D6E-99C5-94341EC50EE2}" srcOrd="8" destOrd="0" presId="urn:microsoft.com/office/officeart/2009/3/layout/RandomtoResultProcess"/>
    <dgm:cxn modelId="{7D118C03-705E-4149-96E2-633F6C179C3A}" type="presParOf" srcId="{9B9E1B32-9C3E-4D6E-99C5-94341EC50EE2}" destId="{A83EC85C-5B47-4763-AB87-0E229F3A150B}" srcOrd="0" destOrd="0" presId="urn:microsoft.com/office/officeart/2009/3/layout/RandomtoResultProcess"/>
    <dgm:cxn modelId="{3F34DC63-DABE-400B-8C4D-73B3631582B5}" type="presParOf" srcId="{9B9E1B32-9C3E-4D6E-99C5-94341EC50EE2}" destId="{651EBFEE-0F22-40FB-90D1-EEB2320E053B}" srcOrd="1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7E4C47-EFAB-4185-BA7C-29E1187DA83C}">
      <dsp:nvSpPr>
        <dsp:cNvPr id="0" name=""/>
        <dsp:cNvSpPr/>
      </dsp:nvSpPr>
      <dsp:spPr>
        <a:xfrm>
          <a:off x="92059" y="675588"/>
          <a:ext cx="1326742" cy="437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电话外呼</a:t>
          </a:r>
        </a:p>
      </dsp:txBody>
      <dsp:txXfrm>
        <a:off x="92059" y="675588"/>
        <a:ext cx="1326742" cy="437221"/>
      </dsp:txXfrm>
    </dsp:sp>
    <dsp:sp modelId="{56D12507-1DD0-4A8F-88F6-5C9A52715E5E}">
      <dsp:nvSpPr>
        <dsp:cNvPr id="0" name=""/>
        <dsp:cNvSpPr/>
      </dsp:nvSpPr>
      <dsp:spPr>
        <a:xfrm>
          <a:off x="90552" y="542612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2EFE01-76D1-4375-ADAC-1EE5176C18F1}">
      <dsp:nvSpPr>
        <dsp:cNvPr id="0" name=""/>
        <dsp:cNvSpPr/>
      </dsp:nvSpPr>
      <dsp:spPr>
        <a:xfrm>
          <a:off x="164427" y="394861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C03A20-659A-4F8F-A449-08B4DD269956}">
      <dsp:nvSpPr>
        <dsp:cNvPr id="0" name=""/>
        <dsp:cNvSpPr/>
      </dsp:nvSpPr>
      <dsp:spPr>
        <a:xfrm>
          <a:off x="341728" y="424412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400E19-D3B5-4EAD-8DC8-226E1DC0C5C3}">
      <dsp:nvSpPr>
        <dsp:cNvPr id="0" name=""/>
        <dsp:cNvSpPr/>
      </dsp:nvSpPr>
      <dsp:spPr>
        <a:xfrm>
          <a:off x="489479" y="261886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4B114F-2F84-4E4C-BE09-58AE2A6A3EE6}">
      <dsp:nvSpPr>
        <dsp:cNvPr id="0" name=""/>
        <dsp:cNvSpPr/>
      </dsp:nvSpPr>
      <dsp:spPr>
        <a:xfrm>
          <a:off x="681555" y="202785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FD4F92-EEAA-49C7-B4EB-2D5AA8FAE643}">
      <dsp:nvSpPr>
        <dsp:cNvPr id="0" name=""/>
        <dsp:cNvSpPr/>
      </dsp:nvSpPr>
      <dsp:spPr>
        <a:xfrm>
          <a:off x="917956" y="306211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24500B-255A-4BEE-957D-C11D653A33D5}">
      <dsp:nvSpPr>
        <dsp:cNvPr id="0" name=""/>
        <dsp:cNvSpPr/>
      </dsp:nvSpPr>
      <dsp:spPr>
        <a:xfrm>
          <a:off x="1065707" y="380086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C8C227-C814-4833-8CF0-E6A70914F985}">
      <dsp:nvSpPr>
        <dsp:cNvPr id="0" name=""/>
        <dsp:cNvSpPr/>
      </dsp:nvSpPr>
      <dsp:spPr>
        <a:xfrm>
          <a:off x="1272558" y="542612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F9D3CF-1FE3-41AF-B910-E4CBD49F25A5}">
      <dsp:nvSpPr>
        <dsp:cNvPr id="0" name=""/>
        <dsp:cNvSpPr/>
      </dsp:nvSpPr>
      <dsp:spPr>
        <a:xfrm>
          <a:off x="1361209" y="705138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5F93BC-564C-4C77-8B7F-5803735ADD2F}">
      <dsp:nvSpPr>
        <dsp:cNvPr id="0" name=""/>
        <dsp:cNvSpPr/>
      </dsp:nvSpPr>
      <dsp:spPr>
        <a:xfrm>
          <a:off x="592904" y="394861"/>
          <a:ext cx="271379" cy="271379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61D2CB-0940-4F93-B929-6E751292F8F0}">
      <dsp:nvSpPr>
        <dsp:cNvPr id="0" name=""/>
        <dsp:cNvSpPr/>
      </dsp:nvSpPr>
      <dsp:spPr>
        <a:xfrm>
          <a:off x="16676" y="956315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AE3F0E-25FC-4E94-A6E2-5129DDB73B66}">
      <dsp:nvSpPr>
        <dsp:cNvPr id="0" name=""/>
        <dsp:cNvSpPr/>
      </dsp:nvSpPr>
      <dsp:spPr>
        <a:xfrm>
          <a:off x="105327" y="1089290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1FE4A-B0E5-4DD3-A01E-B46DC0E2144C}">
      <dsp:nvSpPr>
        <dsp:cNvPr id="0" name=""/>
        <dsp:cNvSpPr/>
      </dsp:nvSpPr>
      <dsp:spPr>
        <a:xfrm>
          <a:off x="326953" y="1207491"/>
          <a:ext cx="241225" cy="24122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A07AB0-3FC7-449A-8BDE-CD6B3C234540}">
      <dsp:nvSpPr>
        <dsp:cNvPr id="0" name=""/>
        <dsp:cNvSpPr/>
      </dsp:nvSpPr>
      <dsp:spPr>
        <a:xfrm>
          <a:off x="637230" y="1399567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234D5F-390F-4A7A-8942-55306D6217C1}">
      <dsp:nvSpPr>
        <dsp:cNvPr id="0" name=""/>
        <dsp:cNvSpPr/>
      </dsp:nvSpPr>
      <dsp:spPr>
        <a:xfrm>
          <a:off x="696330" y="1207491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1DB650-650C-4BBF-A489-79B66B522D2B}">
      <dsp:nvSpPr>
        <dsp:cNvPr id="0" name=""/>
        <dsp:cNvSpPr/>
      </dsp:nvSpPr>
      <dsp:spPr>
        <a:xfrm>
          <a:off x="844081" y="1414342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21A740-9A24-4410-A386-EDB7FAFEF46F}">
      <dsp:nvSpPr>
        <dsp:cNvPr id="0" name=""/>
        <dsp:cNvSpPr/>
      </dsp:nvSpPr>
      <dsp:spPr>
        <a:xfrm>
          <a:off x="977057" y="1177941"/>
          <a:ext cx="241225" cy="24122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D76153-7A2C-4271-A1CA-957F1D912CF1}">
      <dsp:nvSpPr>
        <dsp:cNvPr id="0" name=""/>
        <dsp:cNvSpPr/>
      </dsp:nvSpPr>
      <dsp:spPr>
        <a:xfrm>
          <a:off x="1302108" y="1118841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53C6B7-92FF-49F2-8B86-FB06BFA9A691}">
      <dsp:nvSpPr>
        <dsp:cNvPr id="0" name=""/>
        <dsp:cNvSpPr/>
      </dsp:nvSpPr>
      <dsp:spPr>
        <a:xfrm>
          <a:off x="1467951" y="424166"/>
          <a:ext cx="487056" cy="929844"/>
        </a:xfrm>
        <a:prstGeom prst="chevron">
          <a:avLst>
            <a:gd name="adj" fmla="val 6231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F03B2F-00D3-48AF-8649-6CDB6351F0FD}">
      <dsp:nvSpPr>
        <dsp:cNvPr id="0" name=""/>
        <dsp:cNvSpPr/>
      </dsp:nvSpPr>
      <dsp:spPr>
        <a:xfrm>
          <a:off x="1955008" y="424618"/>
          <a:ext cx="1328336" cy="9298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资料回传</a:t>
          </a:r>
        </a:p>
      </dsp:txBody>
      <dsp:txXfrm>
        <a:off x="1955008" y="424618"/>
        <a:ext cx="1328336" cy="929835"/>
      </dsp:txXfrm>
    </dsp:sp>
    <dsp:sp modelId="{1A68D61A-0666-41D6-9669-ED9CB95D53A0}">
      <dsp:nvSpPr>
        <dsp:cNvPr id="0" name=""/>
        <dsp:cNvSpPr/>
      </dsp:nvSpPr>
      <dsp:spPr>
        <a:xfrm>
          <a:off x="3283344" y="424166"/>
          <a:ext cx="487056" cy="929844"/>
        </a:xfrm>
        <a:prstGeom prst="chevron">
          <a:avLst>
            <a:gd name="adj" fmla="val 6231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B7E997-D84A-4163-88B5-1F2B064BCD67}">
      <dsp:nvSpPr>
        <dsp:cNvPr id="0" name=""/>
        <dsp:cNvSpPr/>
      </dsp:nvSpPr>
      <dsp:spPr>
        <a:xfrm>
          <a:off x="3770401" y="424618"/>
          <a:ext cx="1328336" cy="9298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个贷审批</a:t>
          </a:r>
        </a:p>
      </dsp:txBody>
      <dsp:txXfrm>
        <a:off x="3770401" y="424618"/>
        <a:ext cx="1328336" cy="929835"/>
      </dsp:txXfrm>
    </dsp:sp>
    <dsp:sp modelId="{CDE9B93E-859E-4A4C-8A2E-2101E2B2BC4A}">
      <dsp:nvSpPr>
        <dsp:cNvPr id="0" name=""/>
        <dsp:cNvSpPr/>
      </dsp:nvSpPr>
      <dsp:spPr>
        <a:xfrm>
          <a:off x="5098737" y="424166"/>
          <a:ext cx="487056" cy="929844"/>
        </a:xfrm>
        <a:prstGeom prst="chevron">
          <a:avLst>
            <a:gd name="adj" fmla="val 6231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E2693F-41DE-4944-8653-57B4390C1386}">
      <dsp:nvSpPr>
        <dsp:cNvPr id="0" name=""/>
        <dsp:cNvSpPr/>
      </dsp:nvSpPr>
      <dsp:spPr>
        <a:xfrm>
          <a:off x="5585793" y="424618"/>
          <a:ext cx="1328336" cy="9298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预约面签</a:t>
          </a:r>
        </a:p>
      </dsp:txBody>
      <dsp:txXfrm>
        <a:off x="5585793" y="424618"/>
        <a:ext cx="1328336" cy="929835"/>
      </dsp:txXfrm>
    </dsp:sp>
    <dsp:sp modelId="{16AB0E66-4443-4EFA-825E-158E99250094}">
      <dsp:nvSpPr>
        <dsp:cNvPr id="0" name=""/>
        <dsp:cNvSpPr/>
      </dsp:nvSpPr>
      <dsp:spPr>
        <a:xfrm>
          <a:off x="6914130" y="424166"/>
          <a:ext cx="487056" cy="929844"/>
        </a:xfrm>
        <a:prstGeom prst="chevron">
          <a:avLst>
            <a:gd name="adj" fmla="val 6231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3EC85C-5B47-4763-AB87-0E229F3A150B}">
      <dsp:nvSpPr>
        <dsp:cNvPr id="0" name=""/>
        <dsp:cNvSpPr/>
      </dsp:nvSpPr>
      <dsp:spPr>
        <a:xfrm>
          <a:off x="7481886" y="347322"/>
          <a:ext cx="1073952" cy="112908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>
              <a:latin typeface="微软雅黑" panose="020B0503020204020204" pitchFamily="34" charset="-122"/>
              <a:ea typeface="微软雅黑" panose="020B0503020204020204" pitchFamily="34" charset="-122"/>
            </a:rPr>
            <a:t>出账放款</a:t>
          </a:r>
        </a:p>
      </dsp:txBody>
      <dsp:txXfrm>
        <a:off x="7639163" y="512673"/>
        <a:ext cx="759398" cy="798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0836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A9715A-FDB3-454A-9571-6E8F25E25DB3}" type="datetimeFigureOut">
              <a:rPr lang="zh-CN" altLang="en-US" smtClean="0"/>
              <a:pPr/>
              <a:t>2018/3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28009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836" y="9428009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DC088A-92F4-41C5-8B44-9AAA59E3789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92366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pPr/>
              <a:t>2018/3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51584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987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P1"/>
          <p:cNvPicPr>
            <a:picLocks noChangeAspect="1" noChangeArrowheads="1"/>
          </p:cNvPicPr>
          <p:nvPr userDrawn="1"/>
        </p:nvPicPr>
        <p:blipFill>
          <a:blip r:embed="rId2" cstate="print"/>
          <a:srcRect b="8820"/>
          <a:stretch>
            <a:fillRect/>
          </a:stretch>
        </p:blipFill>
        <p:spPr bwMode="auto">
          <a:xfrm>
            <a:off x="-3175" y="1"/>
            <a:ext cx="9150350" cy="4702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3" descr="1321321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699729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" descr="logo副本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7160" y="259080"/>
            <a:ext cx="3901440" cy="84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object 8"/>
          <p:cNvSpPr txBox="1">
            <a:spLocks noGrp="1"/>
          </p:cNvSpPr>
          <p:nvPr userDrawn="1"/>
        </p:nvSpPr>
        <p:spPr>
          <a:xfrm>
            <a:off x="544195" y="4871561"/>
            <a:ext cx="379603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>
              <a:defRPr sz="1050" b="0" i="0">
                <a:solidFill>
                  <a:srgbClr val="7E7E7E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ts val="1170"/>
              </a:lnSpc>
            </a:pPr>
            <a:r>
              <a:rPr lang="zh-CN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内部资料   请勿外传</a:t>
            </a:r>
          </a:p>
        </p:txBody>
      </p:sp>
      <p:sp>
        <p:nvSpPr>
          <p:cNvPr id="14" name="日期占位符 3"/>
          <p:cNvSpPr>
            <a:spLocks noGrp="1"/>
          </p:cNvSpPr>
          <p:nvPr>
            <p:ph type="dt" sz="half" idx="10"/>
          </p:nvPr>
        </p:nvSpPr>
        <p:spPr>
          <a:xfrm>
            <a:off x="3429000" y="4069557"/>
            <a:ext cx="2133600" cy="27384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fld id="{148B2DE4-2C19-428B-A1CD-05E4005B394E}" type="datetimeFigureOut">
              <a:rPr lang="zh-CN" altLang="en-US" smtClean="0"/>
              <a:pPr/>
              <a:t>2018/3/9</a:t>
            </a:fld>
            <a:endParaRPr lang="zh-CN" altLang="en-US"/>
          </a:p>
        </p:txBody>
      </p:sp>
      <p:sp>
        <p:nvSpPr>
          <p:cNvPr id="15" name="标题占位符 1"/>
          <p:cNvSpPr>
            <a:spLocks noGrp="1"/>
          </p:cNvSpPr>
          <p:nvPr>
            <p:ph type="title"/>
          </p:nvPr>
        </p:nvSpPr>
        <p:spPr>
          <a:xfrm>
            <a:off x="533400" y="192078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19" name="标题占位符 1"/>
          <p:cNvSpPr txBox="1">
            <a:spLocks/>
          </p:cNvSpPr>
          <p:nvPr userDrawn="1"/>
        </p:nvSpPr>
        <p:spPr>
          <a:xfrm>
            <a:off x="2209800" y="3134366"/>
            <a:ext cx="4724400" cy="6045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j-cs"/>
              </a:defRPr>
            </a:lvl1pPr>
          </a:lstStyle>
          <a:p>
            <a:r>
              <a:rPr lang="zh-CN" altLang="en-US" sz="2400">
                <a:solidFill>
                  <a:schemeClr val="bg1"/>
                </a:solidFill>
              </a:rPr>
              <a:t>零售网络金融事业部</a:t>
            </a:r>
          </a:p>
        </p:txBody>
      </p:sp>
    </p:spTree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918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4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974850" y="966601"/>
            <a:ext cx="6330950" cy="33944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8" name="内容占位符 17"/>
          <p:cNvSpPr>
            <a:spLocks noGrp="1"/>
          </p:cNvSpPr>
          <p:nvPr>
            <p:ph sz="quarter" idx="13"/>
          </p:nvPr>
        </p:nvSpPr>
        <p:spPr>
          <a:xfrm>
            <a:off x="228600" y="966600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9" name="内容占位符 17"/>
          <p:cNvSpPr>
            <a:spLocks noGrp="1"/>
          </p:cNvSpPr>
          <p:nvPr>
            <p:ph sz="quarter" idx="14"/>
          </p:nvPr>
        </p:nvSpPr>
        <p:spPr>
          <a:xfrm>
            <a:off x="228600" y="1618875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20" name="内容占位符 17"/>
          <p:cNvSpPr>
            <a:spLocks noGrp="1"/>
          </p:cNvSpPr>
          <p:nvPr>
            <p:ph sz="quarter" idx="15"/>
          </p:nvPr>
        </p:nvSpPr>
        <p:spPr>
          <a:xfrm>
            <a:off x="228600" y="2271150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21" name="内容占位符 17"/>
          <p:cNvSpPr>
            <a:spLocks noGrp="1"/>
          </p:cNvSpPr>
          <p:nvPr>
            <p:ph sz="quarter" idx="16"/>
          </p:nvPr>
        </p:nvSpPr>
        <p:spPr>
          <a:xfrm>
            <a:off x="228600" y="2923425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22" name="内容占位符 17"/>
          <p:cNvSpPr>
            <a:spLocks noGrp="1"/>
          </p:cNvSpPr>
          <p:nvPr>
            <p:ph sz="quarter" idx="17"/>
          </p:nvPr>
        </p:nvSpPr>
        <p:spPr>
          <a:xfrm>
            <a:off x="228600" y="3584475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23" name="内容占位符 17"/>
          <p:cNvSpPr>
            <a:spLocks noGrp="1"/>
          </p:cNvSpPr>
          <p:nvPr>
            <p:ph sz="quarter" idx="18"/>
          </p:nvPr>
        </p:nvSpPr>
        <p:spPr>
          <a:xfrm>
            <a:off x="1974850" y="571500"/>
            <a:ext cx="1860550" cy="29885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endParaRPr lang="zh-CN" altLang="en-US"/>
          </a:p>
        </p:txBody>
      </p:sp>
      <p:sp>
        <p:nvSpPr>
          <p:cNvPr id="24" name="内容占位符 17"/>
          <p:cNvSpPr>
            <a:spLocks noGrp="1"/>
          </p:cNvSpPr>
          <p:nvPr>
            <p:ph sz="quarter" idx="19"/>
          </p:nvPr>
        </p:nvSpPr>
        <p:spPr>
          <a:xfrm>
            <a:off x="4210050" y="571500"/>
            <a:ext cx="1860550" cy="29885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endParaRPr lang="zh-CN" altLang="en-US"/>
          </a:p>
        </p:txBody>
      </p:sp>
      <p:sp>
        <p:nvSpPr>
          <p:cNvPr id="25" name="内容占位符 17"/>
          <p:cNvSpPr>
            <a:spLocks noGrp="1"/>
          </p:cNvSpPr>
          <p:nvPr>
            <p:ph sz="quarter" idx="20"/>
          </p:nvPr>
        </p:nvSpPr>
        <p:spPr>
          <a:xfrm>
            <a:off x="6477000" y="571500"/>
            <a:ext cx="1860550" cy="29885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2989359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22250" y="1291828"/>
            <a:ext cx="4197350" cy="3394472"/>
          </a:xfrm>
          <a:ln>
            <a:solidFill>
              <a:schemeClr val="accent6"/>
            </a:solidFill>
          </a:ln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8" name="内容占位符 17"/>
          <p:cNvSpPr>
            <a:spLocks noGrp="1"/>
          </p:cNvSpPr>
          <p:nvPr>
            <p:ph sz="quarter" idx="13"/>
          </p:nvPr>
        </p:nvSpPr>
        <p:spPr>
          <a:xfrm>
            <a:off x="228600" y="966600"/>
            <a:ext cx="4191000" cy="2907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6" name="内容占位符 17"/>
          <p:cNvSpPr>
            <a:spLocks noGrp="1"/>
          </p:cNvSpPr>
          <p:nvPr>
            <p:ph sz="quarter" idx="14"/>
          </p:nvPr>
        </p:nvSpPr>
        <p:spPr>
          <a:xfrm>
            <a:off x="4533900" y="966600"/>
            <a:ext cx="4191000" cy="2907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内容占位符 2"/>
          <p:cNvSpPr>
            <a:spLocks noGrp="1"/>
          </p:cNvSpPr>
          <p:nvPr>
            <p:ph idx="15"/>
          </p:nvPr>
        </p:nvSpPr>
        <p:spPr>
          <a:xfrm>
            <a:off x="4552950" y="1291828"/>
            <a:ext cx="4197350" cy="3394472"/>
          </a:xfrm>
          <a:ln>
            <a:solidFill>
              <a:schemeClr val="accent6"/>
            </a:solidFill>
          </a:ln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978054261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85585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6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22250" y="1291828"/>
            <a:ext cx="5759450" cy="3394472"/>
          </a:xfrm>
          <a:ln>
            <a:solidFill>
              <a:schemeClr val="accent6"/>
            </a:solidFill>
          </a:ln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8" name="内容占位符 17"/>
          <p:cNvSpPr>
            <a:spLocks noGrp="1"/>
          </p:cNvSpPr>
          <p:nvPr>
            <p:ph sz="quarter" idx="13"/>
          </p:nvPr>
        </p:nvSpPr>
        <p:spPr>
          <a:xfrm>
            <a:off x="228600" y="966600"/>
            <a:ext cx="5750737" cy="2907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6" name="内容占位符 17"/>
          <p:cNvSpPr>
            <a:spLocks noGrp="1"/>
          </p:cNvSpPr>
          <p:nvPr>
            <p:ph sz="quarter" idx="14"/>
          </p:nvPr>
        </p:nvSpPr>
        <p:spPr>
          <a:xfrm>
            <a:off x="6150700" y="966600"/>
            <a:ext cx="2574200" cy="2907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内容占位符 2"/>
          <p:cNvSpPr>
            <a:spLocks noGrp="1"/>
          </p:cNvSpPr>
          <p:nvPr>
            <p:ph idx="15"/>
          </p:nvPr>
        </p:nvSpPr>
        <p:spPr>
          <a:xfrm>
            <a:off x="6172200" y="1291828"/>
            <a:ext cx="2578100" cy="3394472"/>
          </a:xfrm>
          <a:ln>
            <a:solidFill>
              <a:schemeClr val="accent6"/>
            </a:solidFill>
          </a:ln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80026343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742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0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06970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0421438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24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9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28600" y="205978"/>
            <a:ext cx="8458200" cy="3655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pic>
        <p:nvPicPr>
          <p:cNvPr id="8" name="Picture 14"/>
          <p:cNvPicPr>
            <a:picLocks noChangeAspect="1"/>
          </p:cNvPicPr>
          <p:nvPr userDrawn="1"/>
        </p:nvPicPr>
        <p:blipFill rotWithShape="1">
          <a:blip r:embed="rId14" cstate="print"/>
          <a:srcRect t="11891" b="15442"/>
          <a:stretch/>
        </p:blipFill>
        <p:spPr>
          <a:xfrm>
            <a:off x="487467" y="4947047"/>
            <a:ext cx="1314926" cy="196453"/>
          </a:xfrm>
          <a:prstGeom prst="rect">
            <a:avLst/>
          </a:prstGeom>
        </p:spPr>
      </p:pic>
      <p:sp>
        <p:nvSpPr>
          <p:cNvPr id="9" name="Footer Placeholder 8"/>
          <p:cNvSpPr txBox="1">
            <a:spLocks/>
          </p:cNvSpPr>
          <p:nvPr userDrawn="1"/>
        </p:nvSpPr>
        <p:spPr>
          <a:xfrm>
            <a:off x="3429000" y="5003008"/>
            <a:ext cx="2438400" cy="11600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rgbClr val="7F7F7F"/>
                </a:solidFill>
              </a:rPr>
              <a:t>Copyright © 2017 All rights reserved.</a:t>
            </a:r>
          </a:p>
        </p:txBody>
      </p:sp>
      <p:sp>
        <p:nvSpPr>
          <p:cNvPr id="12" name="矩形 11"/>
          <p:cNvSpPr/>
          <p:nvPr userDrawn="1"/>
        </p:nvSpPr>
        <p:spPr>
          <a:xfrm>
            <a:off x="4953000" y="2400300"/>
            <a:ext cx="1905000" cy="1200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1802394" y="571500"/>
            <a:ext cx="1626607" cy="1314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10" r:id="rId3"/>
    <p:sldLayoutId id="2147483711" r:id="rId4"/>
    <p:sldLayoutId id="2147483712" r:id="rId5"/>
    <p:sldLayoutId id="2147483700" r:id="rId6"/>
    <p:sldLayoutId id="2147483701" r:id="rId7"/>
    <p:sldLayoutId id="2147483713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圆角矩形 4"/>
          <p:cNvSpPr/>
          <p:nvPr/>
        </p:nvSpPr>
        <p:spPr>
          <a:xfrm>
            <a:off x="0" y="1491630"/>
            <a:ext cx="9144000" cy="1440160"/>
          </a:xfrm>
          <a:prstGeom prst="roundRect">
            <a:avLst>
              <a:gd name="adj" fmla="val 0"/>
            </a:avLst>
          </a:prstGeom>
          <a:solidFill>
            <a:srgbClr val="FFFFFF">
              <a:alpha val="27843"/>
            </a:srgbClr>
          </a:solidFill>
          <a:ln w="3175"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B2B2C</a:t>
            </a:r>
            <a:r>
              <a:rPr lang="zh-CN" altLang="en-US" sz="3600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外部合作</a:t>
            </a:r>
            <a:endParaRPr lang="en-US" altLang="zh-CN" sz="3600" b="1" spc="20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en-US" altLang="zh-CN" sz="3600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                          —</a:t>
            </a:r>
            <a:r>
              <a:rPr lang="zh-CN" altLang="en-US" sz="3600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新一贷          </a:t>
            </a:r>
            <a:endParaRPr lang="en-US" altLang="zh-CN" sz="3600" b="1" spc="20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3579862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总行零售网络金融事业部</a:t>
            </a:r>
            <a:endParaRPr lang="en-US" altLang="zh-CN" b="1" spc="20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017</a:t>
            </a:r>
            <a:r>
              <a:rPr lang="zh-CN" altLang="en-US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b="1" spc="2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</a:p>
        </p:txBody>
      </p:sp>
      <p:pic>
        <p:nvPicPr>
          <p:cNvPr id="8" name="图片 3"/>
          <p:cNvPicPr>
            <a:picLocks noChangeAspect="1"/>
          </p:cNvPicPr>
          <p:nvPr/>
        </p:nvPicPr>
        <p:blipFill>
          <a:blip r:embed="rId3" cstate="print"/>
          <a:srcRect t="10352" b="5206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矩形 8"/>
          <p:cNvSpPr/>
          <p:nvPr/>
        </p:nvSpPr>
        <p:spPr>
          <a:xfrm>
            <a:off x="6350" y="0"/>
            <a:ext cx="9137650" cy="5143500"/>
          </a:xfrm>
          <a:prstGeom prst="rect">
            <a:avLst/>
          </a:prstGeom>
          <a:solidFill>
            <a:srgbClr val="262626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框 12"/>
          <p:cNvSpPr txBox="1">
            <a:spLocks noChangeArrowheads="1"/>
          </p:cNvSpPr>
          <p:nvPr/>
        </p:nvSpPr>
        <p:spPr bwMode="auto">
          <a:xfrm>
            <a:off x="2422624" y="2159000"/>
            <a:ext cx="4293484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pPr algn="ctr"/>
            <a:r>
              <a:rPr lang="zh-CN" altLang="en-US" sz="27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互联网平台新一贷业务合作</a:t>
            </a:r>
            <a:endParaRPr lang="en-US" altLang="zh-CN" sz="2700" b="1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1835696" y="2687638"/>
            <a:ext cx="254476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4693196" y="2687638"/>
            <a:ext cx="26384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等腰三角形 12"/>
          <p:cNvSpPr/>
          <p:nvPr/>
        </p:nvSpPr>
        <p:spPr>
          <a:xfrm>
            <a:off x="4488409" y="2647950"/>
            <a:ext cx="104775" cy="68263"/>
          </a:xfrm>
          <a:prstGeom prst="triangl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4" name="文本框 17"/>
          <p:cNvSpPr txBox="1">
            <a:spLocks noChangeArrowheads="1"/>
          </p:cNvSpPr>
          <p:nvPr/>
        </p:nvSpPr>
        <p:spPr bwMode="auto">
          <a:xfrm>
            <a:off x="4212072" y="4807867"/>
            <a:ext cx="731612" cy="284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pPr algn="ctr"/>
            <a:r>
              <a:rPr lang="en-US" altLang="zh-CN" sz="1400">
                <a:solidFill>
                  <a:srgbClr val="FFFFFF"/>
                </a:solidFill>
                <a:latin typeface="Calibri" pitchFamily="34" charset="0"/>
              </a:rPr>
              <a:t>2017.12</a:t>
            </a:r>
            <a:endParaRPr lang="zh-CN" alt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15" name="组合 3"/>
          <p:cNvGrpSpPr>
            <a:grpSpLocks/>
          </p:cNvGrpSpPr>
          <p:nvPr/>
        </p:nvGrpSpPr>
        <p:grpSpPr bwMode="auto">
          <a:xfrm>
            <a:off x="179388" y="236538"/>
            <a:ext cx="2160587" cy="534987"/>
            <a:chOff x="5035725" y="276446"/>
            <a:chExt cx="1570364" cy="347488"/>
          </a:xfrm>
        </p:grpSpPr>
        <p:pic>
          <p:nvPicPr>
            <p:cNvPr id="16" name="Picture 50" descr="Ping_An_Bank_Logo"/>
            <p:cNvPicPr>
              <a:picLocks noChangeAspect="1" noChangeArrowheads="1"/>
            </p:cNvPicPr>
            <p:nvPr/>
          </p:nvPicPr>
          <p:blipFill>
            <a:blip r:embed="rId4" cstate="print"/>
            <a:srcRect l="43349"/>
            <a:stretch>
              <a:fillRect/>
            </a:stretch>
          </p:blipFill>
          <p:spPr bwMode="gray">
            <a:xfrm>
              <a:off x="5672371" y="296104"/>
              <a:ext cx="933718" cy="315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51" descr="Ping_An_Bank_Logo"/>
            <p:cNvPicPr>
              <a:picLocks noChangeAspect="1" noChangeArrowheads="1"/>
            </p:cNvPicPr>
            <p:nvPr/>
          </p:nvPicPr>
          <p:blipFill>
            <a:blip r:embed="rId4" cstate="print"/>
            <a:srcRect l="1984" r="63069"/>
            <a:stretch>
              <a:fillRect/>
            </a:stretch>
          </p:blipFill>
          <p:spPr bwMode="gray">
            <a:xfrm>
              <a:off x="5035725" y="276446"/>
              <a:ext cx="594948" cy="347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38721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 animBg="1"/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6735" y="996575"/>
            <a:ext cx="1935015" cy="3324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圆角矩形 3"/>
          <p:cNvSpPr/>
          <p:nvPr/>
        </p:nvSpPr>
        <p:spPr>
          <a:xfrm>
            <a:off x="7137285" y="1848676"/>
            <a:ext cx="1755195" cy="117013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5247075" y="1862467"/>
            <a:ext cx="1755195" cy="117013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3401870" y="1884970"/>
            <a:ext cx="1755195" cy="117013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5400904" y="2650055"/>
            <a:ext cx="675076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金融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6124673" y="2650055"/>
            <a:ext cx="675076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购物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5400904" y="2200005"/>
            <a:ext cx="675076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出游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6124673" y="2200005"/>
            <a:ext cx="675076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学习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8003013" y="2605049"/>
            <a:ext cx="818271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保单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7227295" y="2200004"/>
            <a:ext cx="720080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财税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3581890" y="2200004"/>
            <a:ext cx="1357437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用户基数大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3581890" y="2672557"/>
            <a:ext cx="1357437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用户粘性高</a:t>
            </a:r>
          </a:p>
        </p:txBody>
      </p:sp>
      <p:sp>
        <p:nvSpPr>
          <p:cNvPr id="15" name="矩形 14"/>
          <p:cNvSpPr/>
          <p:nvPr/>
        </p:nvSpPr>
        <p:spPr>
          <a:xfrm>
            <a:off x="3581890" y="1659944"/>
            <a:ext cx="1398844" cy="3774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有流量</a:t>
            </a:r>
          </a:p>
        </p:txBody>
      </p:sp>
      <p:sp>
        <p:nvSpPr>
          <p:cNvPr id="16" name="矩形 15"/>
          <p:cNvSpPr/>
          <p:nvPr/>
        </p:nvSpPr>
        <p:spPr>
          <a:xfrm>
            <a:off x="5400904" y="1659945"/>
            <a:ext cx="1398844" cy="3774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有场景</a:t>
            </a:r>
          </a:p>
        </p:txBody>
      </p:sp>
      <p:sp>
        <p:nvSpPr>
          <p:cNvPr id="17" name="矩形 16"/>
          <p:cNvSpPr/>
          <p:nvPr/>
        </p:nvSpPr>
        <p:spPr>
          <a:xfrm>
            <a:off x="7317305" y="1659946"/>
            <a:ext cx="1398844" cy="3774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有数据</a:t>
            </a:r>
          </a:p>
        </p:txBody>
      </p:sp>
      <p:sp>
        <p:nvSpPr>
          <p:cNvPr id="18" name="圆角矩形 17"/>
          <p:cNvSpPr/>
          <p:nvPr/>
        </p:nvSpPr>
        <p:spPr>
          <a:xfrm>
            <a:off x="2501770" y="1659947"/>
            <a:ext cx="720080" cy="135885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合作平台</a:t>
            </a:r>
          </a:p>
        </p:txBody>
      </p:sp>
      <p:sp>
        <p:nvSpPr>
          <p:cNvPr id="19" name="Rectangle 1"/>
          <p:cNvSpPr>
            <a:spLocks noChangeArrowheads="1"/>
          </p:cNvSpPr>
          <p:nvPr/>
        </p:nvSpPr>
        <p:spPr bwMode="auto">
          <a:xfrm>
            <a:off x="2501769" y="3230564"/>
            <a:ext cx="634570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2698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zh-CN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仿宋_GB2312" pitchFamily="49" charset="-122"/>
              <a:cs typeface="宋体" pitchFamily="2" charset="-122"/>
            </a:endParaRPr>
          </a:p>
          <a:p>
            <a:pPr marL="0" marR="0" lvl="0" indent="2698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企业</a:t>
            </a:r>
            <a:r>
              <a:rPr kumimoji="0" lang="en-US" altLang="zh-CN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APP</a:t>
            </a:r>
            <a:r>
              <a:rPr kumimoji="0" lang="zh-CN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软件必须在正规软件商城：</a:t>
            </a:r>
            <a:r>
              <a:rPr kumimoji="0" lang="en-US" altLang="zh-CN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App store</a:t>
            </a:r>
            <a:r>
              <a:rPr kumimoji="0" lang="zh-CN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或安卓市场发布</a:t>
            </a:r>
            <a:r>
              <a:rPr lang="zh-CN" altLang="en-US" sz="1200">
                <a:solidFill>
                  <a:srgbClr val="000000"/>
                </a:solidFill>
                <a:latin typeface="Arial" pitchFamily="34" charset="0"/>
                <a:ea typeface="仿宋_GB2312" pitchFamily="49" charset="-122"/>
                <a:cs typeface="宋体" pitchFamily="2" charset="-122"/>
              </a:rPr>
              <a:t>，</a:t>
            </a:r>
            <a:r>
              <a:rPr kumimoji="0" lang="zh-CN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须公安</a:t>
            </a:r>
            <a:r>
              <a:rPr kumimoji="0" lang="en-US" altLang="zh-CN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ICP</a:t>
            </a:r>
            <a:r>
              <a:rPr kumimoji="0" lang="zh-CN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报备</a:t>
            </a:r>
            <a:endParaRPr kumimoji="0" lang="en-US" altLang="zh-CN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仿宋_GB2312" pitchFamily="49" charset="-122"/>
              <a:cs typeface="宋体" pitchFamily="2" charset="-122"/>
            </a:endParaRPr>
          </a:p>
          <a:p>
            <a:pPr marL="0" marR="0" lvl="0" indent="2698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企业微信公众号的粉丝量需达到</a:t>
            </a:r>
            <a:r>
              <a:rPr kumimoji="0" lang="en-US" altLang="zh-CN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30</a:t>
            </a:r>
            <a:r>
              <a:rPr kumimoji="0" lang="zh-CN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万。</a:t>
            </a: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  <a:cs typeface="宋体" pitchFamily="2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7992381" y="2200004"/>
            <a:ext cx="828904" cy="26422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公积金</a:t>
            </a:r>
          </a:p>
        </p:txBody>
      </p:sp>
      <p:sp>
        <p:nvSpPr>
          <p:cNvPr id="21" name="圆角矩形 20"/>
          <p:cNvSpPr/>
          <p:nvPr/>
        </p:nvSpPr>
        <p:spPr>
          <a:xfrm>
            <a:off x="7227295" y="2605049"/>
            <a:ext cx="720080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社保</a:t>
            </a:r>
          </a:p>
        </p:txBody>
      </p:sp>
      <p:sp>
        <p:nvSpPr>
          <p:cNvPr id="22" name="Shape 139"/>
          <p:cNvSpPr/>
          <p:nvPr/>
        </p:nvSpPr>
        <p:spPr>
          <a:xfrm>
            <a:off x="629560" y="132188"/>
            <a:ext cx="147732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>
                <a:solidFill>
                  <a:schemeClr val="tx1"/>
                </a:solidFill>
              </a:rPr>
              <a:t>目标平台特征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2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2901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354" name="Picture 2" descr="D:\用户\ZENGNI931\Desktop\无标题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1407045"/>
            <a:ext cx="1761829" cy="3139499"/>
          </a:xfrm>
          <a:prstGeom prst="rect">
            <a:avLst/>
          </a:prstGeom>
          <a:noFill/>
        </p:spPr>
      </p:pic>
      <p:sp>
        <p:nvSpPr>
          <p:cNvPr id="4" name="文本框 3"/>
          <p:cNvSpPr txBox="1"/>
          <p:nvPr/>
        </p:nvSpPr>
        <p:spPr>
          <a:xfrm>
            <a:off x="169505" y="726545"/>
            <a:ext cx="20146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在合作方平台上，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设置固定入口</a:t>
            </a:r>
            <a:endParaRPr lang="zh-CN" alt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圆角矩形 34"/>
          <p:cNvSpPr/>
          <p:nvPr/>
        </p:nvSpPr>
        <p:spPr>
          <a:xfrm>
            <a:off x="206515" y="1645695"/>
            <a:ext cx="1783914" cy="76509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8" name="Shape 139"/>
          <p:cNvSpPr/>
          <p:nvPr/>
        </p:nvSpPr>
        <p:spPr>
          <a:xfrm>
            <a:off x="629560" y="114186"/>
            <a:ext cx="389946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5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模式业务流程（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流程</a:t>
            </a:r>
            <a:endParaRPr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41" name="形状 40"/>
          <p:cNvCxnSpPr/>
          <p:nvPr/>
        </p:nvCxnSpPr>
        <p:spPr>
          <a:xfrm rot="16200000" flipH="1">
            <a:off x="1579237" y="1798958"/>
            <a:ext cx="289004" cy="1250533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3" name="矩形 10"/>
          <p:cNvSpPr>
            <a:spLocks noChangeArrowheads="1"/>
          </p:cNvSpPr>
          <p:nvPr/>
        </p:nvSpPr>
        <p:spPr bwMode="auto">
          <a:xfrm>
            <a:off x="2636785" y="966448"/>
            <a:ext cx="1410446" cy="300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buClr>
                <a:srgbClr val="E24848"/>
              </a:buClr>
            </a:pPr>
            <a:r>
              <a:rPr lang="zh-CN" altLang="en-US" sz="1400" b="1" noProof="1">
                <a:latin typeface="华文楷体" panose="02010600040101010101" pitchFamily="2" charset="-122"/>
                <a:ea typeface="华文楷体" panose="02010600040101010101" pitchFamily="2" charset="-122"/>
              </a:rPr>
              <a:t>新一贷产品介绍</a:t>
            </a:r>
          </a:p>
        </p:txBody>
      </p:sp>
      <p:sp>
        <p:nvSpPr>
          <p:cNvPr id="24" name="矩形 11"/>
          <p:cNvSpPr>
            <a:spLocks noChangeArrowheads="1"/>
          </p:cNvSpPr>
          <p:nvPr/>
        </p:nvSpPr>
        <p:spPr bwMode="auto">
          <a:xfrm>
            <a:off x="4819959" y="966448"/>
            <a:ext cx="1451787" cy="282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buClr>
                <a:srgbClr val="E24848"/>
              </a:buClr>
            </a:pPr>
            <a:r>
              <a:rPr lang="zh-CN" altLang="en-US" sz="1400" b="1" noProof="1">
                <a:latin typeface="华文楷体" panose="02010600040101010101" pitchFamily="2" charset="-122"/>
                <a:ea typeface="华文楷体" panose="02010600040101010101" pitchFamily="2" charset="-122"/>
              </a:rPr>
              <a:t>申请信息填写</a:t>
            </a:r>
          </a:p>
        </p:txBody>
      </p:sp>
      <p:sp>
        <p:nvSpPr>
          <p:cNvPr id="25" name="矩形 12"/>
          <p:cNvSpPr>
            <a:spLocks noChangeArrowheads="1"/>
          </p:cNvSpPr>
          <p:nvPr/>
        </p:nvSpPr>
        <p:spPr bwMode="auto">
          <a:xfrm>
            <a:off x="7064260" y="966448"/>
            <a:ext cx="1102823" cy="268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buClr>
                <a:srgbClr val="E24848"/>
              </a:buClr>
            </a:pPr>
            <a:r>
              <a:rPr lang="zh-CN" altLang="en-US" sz="1400" b="1" noProof="1">
                <a:latin typeface="华文楷体" panose="02010600040101010101" pitchFamily="2" charset="-122"/>
                <a:ea typeface="华文楷体" panose="02010600040101010101" pitchFamily="2" charset="-122"/>
              </a:rPr>
              <a:t>申请提交</a:t>
            </a:r>
          </a:p>
        </p:txBody>
      </p:sp>
      <p:sp>
        <p:nvSpPr>
          <p:cNvPr id="26" name="椭圆 25"/>
          <p:cNvSpPr/>
          <p:nvPr/>
        </p:nvSpPr>
        <p:spPr>
          <a:xfrm>
            <a:off x="2449154" y="966448"/>
            <a:ext cx="215214" cy="2337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1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</a:t>
            </a:r>
            <a:endParaRPr lang="zh-CN" altLang="en-US" sz="14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7" name="椭圆 26"/>
          <p:cNvSpPr/>
          <p:nvPr/>
        </p:nvSpPr>
        <p:spPr>
          <a:xfrm>
            <a:off x="4604744" y="966448"/>
            <a:ext cx="215215" cy="235079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1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</a:t>
            </a:r>
            <a:endParaRPr lang="zh-CN" altLang="en-US" sz="14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8" name="椭圆 27"/>
          <p:cNvSpPr/>
          <p:nvPr/>
        </p:nvSpPr>
        <p:spPr>
          <a:xfrm>
            <a:off x="6849046" y="966448"/>
            <a:ext cx="215214" cy="2337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1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</a:t>
            </a:r>
            <a:endParaRPr lang="zh-CN" altLang="en-US" sz="14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251" y="1402414"/>
            <a:ext cx="1893600" cy="3029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811" y="1402414"/>
            <a:ext cx="1894119" cy="305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245" y="1402413"/>
            <a:ext cx="1893600" cy="306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5665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139"/>
          <p:cNvSpPr/>
          <p:nvPr/>
        </p:nvSpPr>
        <p:spPr>
          <a:xfrm>
            <a:off x="552705" y="125219"/>
            <a:ext cx="480516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5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模式业务流程（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 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单</a:t>
            </a:r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处理流程</a:t>
            </a:r>
            <a:endParaRPr lang="zh-CN" altLang="en-US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0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aphicFrame>
        <p:nvGraphicFramePr>
          <p:cNvPr id="34" name="图示 33"/>
          <p:cNvGraphicFramePr/>
          <p:nvPr>
            <p:extLst>
              <p:ext uri="{D42A27DB-BD31-4B8C-83A1-F6EECF244321}">
                <p14:modId xmlns:p14="http://schemas.microsoft.com/office/powerpoint/2010/main" val="4020453724"/>
              </p:ext>
            </p:extLst>
          </p:nvPr>
        </p:nvGraphicFramePr>
        <p:xfrm>
          <a:off x="311272" y="987574"/>
          <a:ext cx="8653216" cy="17226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6" name="圆角矩形 35"/>
          <p:cNvSpPr/>
          <p:nvPr/>
        </p:nvSpPr>
        <p:spPr>
          <a:xfrm>
            <a:off x="301625" y="2698750"/>
            <a:ext cx="1533525" cy="1944688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7" name="圆角矩形 36"/>
          <p:cNvSpPr/>
          <p:nvPr/>
        </p:nvSpPr>
        <p:spPr>
          <a:xfrm>
            <a:off x="2089150" y="2698750"/>
            <a:ext cx="1533525" cy="1944688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9" name="圆角矩形 38"/>
          <p:cNvSpPr/>
          <p:nvPr/>
        </p:nvSpPr>
        <p:spPr>
          <a:xfrm>
            <a:off x="3902075" y="2716213"/>
            <a:ext cx="1533525" cy="1943100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3911722" y="3254375"/>
            <a:ext cx="1533525" cy="9540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坐席协助将客户回传的相关资料传送个贷进行审批</a:t>
            </a:r>
          </a:p>
        </p:txBody>
      </p:sp>
      <p:sp>
        <p:nvSpPr>
          <p:cNvPr id="43" name="矩形 42"/>
          <p:cNvSpPr/>
          <p:nvPr/>
        </p:nvSpPr>
        <p:spPr>
          <a:xfrm>
            <a:off x="2111497" y="3254375"/>
            <a:ext cx="15335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客户回传资料</a:t>
            </a:r>
          </a:p>
        </p:txBody>
      </p:sp>
      <p:sp>
        <p:nvSpPr>
          <p:cNvPr id="44" name="矩形 43"/>
          <p:cNvSpPr/>
          <p:nvPr/>
        </p:nvSpPr>
        <p:spPr>
          <a:xfrm>
            <a:off x="311272" y="2932113"/>
            <a:ext cx="1533525" cy="7381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外呼复核客户资质符合并确认贷款方案</a:t>
            </a:r>
          </a:p>
        </p:txBody>
      </p:sp>
      <p:sp>
        <p:nvSpPr>
          <p:cNvPr id="51" name="矩形 50"/>
          <p:cNvSpPr/>
          <p:nvPr/>
        </p:nvSpPr>
        <p:spPr>
          <a:xfrm>
            <a:off x="5702300" y="2932113"/>
            <a:ext cx="1533525" cy="1600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个贷审批通过后，坐席电话通知客户并帮助客户预约面签，客户根据预约时间前往个贷中心进行线下面签</a:t>
            </a:r>
          </a:p>
        </p:txBody>
      </p:sp>
      <p:sp>
        <p:nvSpPr>
          <p:cNvPr id="52" name="圆角矩形 51"/>
          <p:cNvSpPr/>
          <p:nvPr/>
        </p:nvSpPr>
        <p:spPr>
          <a:xfrm>
            <a:off x="5702300" y="2716213"/>
            <a:ext cx="1533525" cy="1943100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6" name="圆角矩形 55"/>
          <p:cNvSpPr/>
          <p:nvPr/>
        </p:nvSpPr>
        <p:spPr>
          <a:xfrm>
            <a:off x="7431088" y="2709863"/>
            <a:ext cx="1533525" cy="1943100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7431088" y="3302000"/>
            <a:ext cx="1533525" cy="7381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面签通过后，个贷处理中心放款至客户账户</a:t>
            </a:r>
          </a:p>
        </p:txBody>
      </p:sp>
    </p:spTree>
    <p:extLst>
      <p:ext uri="{BB962C8B-B14F-4D97-AF65-F5344CB8AC3E}">
        <p14:creationId xmlns:p14="http://schemas.microsoft.com/office/powerpoint/2010/main" val="4065292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39"/>
          <p:cNvSpPr/>
          <p:nvPr/>
        </p:nvSpPr>
        <p:spPr>
          <a:xfrm>
            <a:off x="629560" y="114186"/>
            <a:ext cx="147732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>
                <a:solidFill>
                  <a:schemeClr val="tx1"/>
                </a:solidFill>
              </a:rPr>
              <a:t>合作费用标准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1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476545" y="861560"/>
            <a:ext cx="3838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下表为最高费率，按月结算给平台合作方</a:t>
            </a: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9384856"/>
              </p:ext>
            </p:extLst>
          </p:nvPr>
        </p:nvGraphicFramePr>
        <p:xfrm>
          <a:off x="629560" y="1491630"/>
          <a:ext cx="3690410" cy="170031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025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51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发放金额（万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最高费率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r>
                        <a:rPr lang="zh-CN" altLang="en-US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)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0%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[200</a:t>
                      </a:r>
                      <a:r>
                        <a:rPr lang="zh-CN" altLang="en-US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0)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[500</a:t>
                      </a:r>
                      <a:r>
                        <a:rPr lang="zh-CN" altLang="en-US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0)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%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[1000,+∞</a:t>
                      </a:r>
                      <a:r>
                        <a:rPr lang="zh-CN" altLang="en-US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739244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39"/>
          <p:cNvSpPr/>
          <p:nvPr/>
        </p:nvSpPr>
        <p:spPr>
          <a:xfrm>
            <a:off x="629560" y="114186"/>
            <a:ext cx="147732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>
                <a:solidFill>
                  <a:schemeClr val="tx1"/>
                </a:solidFill>
              </a:rPr>
              <a:t>平台准入条件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1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341530" y="831358"/>
            <a:ext cx="8460940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企业连续经营年限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年（含）以上，企业经营年限以企业营业执照所载信息为准。对于企业换发营业执照或企业重新注册公司等情形，其实际经营年限在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年（含）以上的，由个贷经理调查，提供相关证明后方可准入。对于新设立的分公司，其企业经营年限以母公司实际经营年限为准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注册资本不低于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，公司总人数不低于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人，职场面积不少于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5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平方米，具备完善的运营管理、会员管理、交易结算管理、争议与投诉处理、内部管理、操作管理、风险控制等相关管理制度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企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软件必须在正规软件商城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App store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或安卓市场发布；企业网站须公安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ICP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报备，企业微信公众号的粉丝量需达到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经营合法合规，过往不存在重大诉讼、客户投诉、违法违规事件等。企业法人股东、自然人股东无不良情况（如涉及诈骗、法律纠纷、非法募集资金等）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禁止准入企业类型同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平安银行消费金融业务合作外部渠道管理指引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要求，以及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2P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、小贷平台、博彩网站、色情网站、涉及民间借贷、募集资金等风险较大的平台禁止准入，平台所属公司（或关联公司）的企业营业执照注册名称和经营范围中不得包含“小额贷款”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对于已经与我行开展线下合作的公司，现需要增加线上合作的情形，在符合平台准入条件的同时，对平台的费用支付、风险管理等均按线下合作要求和标准执行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被我行已清退的线下中介渠道，不得变相转换为互联网平台申请项目合作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与我行合作平台不允许向客户收取任何收费用。</a:t>
            </a:r>
          </a:p>
        </p:txBody>
      </p:sp>
    </p:spTree>
    <p:extLst>
      <p:ext uri="{BB962C8B-B14F-4D97-AF65-F5344CB8AC3E}">
        <p14:creationId xmlns:p14="http://schemas.microsoft.com/office/powerpoint/2010/main" val="269817164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39"/>
          <p:cNvSpPr/>
          <p:nvPr/>
        </p:nvSpPr>
        <p:spPr>
          <a:xfrm>
            <a:off x="629560" y="114186"/>
            <a:ext cx="2081658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>
                <a:solidFill>
                  <a:schemeClr val="tx1"/>
                </a:solidFill>
              </a:rPr>
              <a:t>项目上报流程（</a:t>
            </a:r>
            <a:r>
              <a:rPr lang="en-US" altLang="zh-CN">
                <a:solidFill>
                  <a:schemeClr val="tx1"/>
                </a:solidFill>
              </a:rPr>
              <a:t>1</a:t>
            </a:r>
            <a:r>
              <a:rPr lang="zh-CN" altLang="en-US">
                <a:solidFill>
                  <a:schemeClr val="tx1"/>
                </a:solidFill>
              </a:rPr>
              <a:t>）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1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  <p:grpSp>
        <p:nvGrpSpPr>
          <p:cNvPr id="2" name="组合 6"/>
          <p:cNvGrpSpPr/>
          <p:nvPr/>
        </p:nvGrpSpPr>
        <p:grpSpPr>
          <a:xfrm>
            <a:off x="179640" y="816555"/>
            <a:ext cx="8757845" cy="1575175"/>
            <a:chOff x="206515" y="782583"/>
            <a:chExt cx="8757845" cy="1575175"/>
          </a:xfrm>
        </p:grpSpPr>
        <p:sp>
          <p:nvSpPr>
            <p:cNvPr id="8" name="Rounded Rectangle 27"/>
            <p:cNvSpPr/>
            <p:nvPr/>
          </p:nvSpPr>
          <p:spPr>
            <a:xfrm>
              <a:off x="206515" y="1061758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27"/>
            <p:cNvSpPr/>
            <p:nvPr/>
          </p:nvSpPr>
          <p:spPr>
            <a:xfrm>
              <a:off x="1775209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27"/>
            <p:cNvSpPr/>
            <p:nvPr/>
          </p:nvSpPr>
          <p:spPr>
            <a:xfrm>
              <a:off x="3370906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2" name="直接箭头连接符 11"/>
            <p:cNvCxnSpPr>
              <a:stCxn id="8" idx="3"/>
              <a:endCxn id="9" idx="1"/>
            </p:cNvCxnSpPr>
            <p:nvPr/>
          </p:nvCxnSpPr>
          <p:spPr>
            <a:xfrm flipV="1">
              <a:off x="1358515" y="1707726"/>
              <a:ext cx="416694" cy="2032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ounded Rectangle 27"/>
            <p:cNvSpPr/>
            <p:nvPr/>
          </p:nvSpPr>
          <p:spPr>
            <a:xfrm>
              <a:off x="4894594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Rounded Rectangle 27"/>
            <p:cNvSpPr/>
            <p:nvPr/>
          </p:nvSpPr>
          <p:spPr>
            <a:xfrm>
              <a:off x="6403883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ounded Rectangle 27"/>
            <p:cNvSpPr/>
            <p:nvPr/>
          </p:nvSpPr>
          <p:spPr>
            <a:xfrm>
              <a:off x="7812360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" name="直接箭头连接符 17"/>
            <p:cNvCxnSpPr>
              <a:stCxn id="9" idx="3"/>
              <a:endCxn id="10" idx="1"/>
            </p:cNvCxnSpPr>
            <p:nvPr/>
          </p:nvCxnSpPr>
          <p:spPr>
            <a:xfrm>
              <a:off x="2927209" y="1707726"/>
              <a:ext cx="443697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箭头连接符 18"/>
            <p:cNvCxnSpPr>
              <a:stCxn id="10" idx="3"/>
              <a:endCxn id="15" idx="1"/>
            </p:cNvCxnSpPr>
            <p:nvPr/>
          </p:nvCxnSpPr>
          <p:spPr>
            <a:xfrm>
              <a:off x="4522906" y="1707726"/>
              <a:ext cx="371688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箭头连接符 19"/>
            <p:cNvCxnSpPr>
              <a:stCxn id="15" idx="3"/>
              <a:endCxn id="16" idx="1"/>
            </p:cNvCxnSpPr>
            <p:nvPr/>
          </p:nvCxnSpPr>
          <p:spPr>
            <a:xfrm>
              <a:off x="6046594" y="1707726"/>
              <a:ext cx="357289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箭头连接符 20"/>
            <p:cNvCxnSpPr>
              <a:stCxn id="16" idx="3"/>
              <a:endCxn id="17" idx="1"/>
            </p:cNvCxnSpPr>
            <p:nvPr/>
          </p:nvCxnSpPr>
          <p:spPr>
            <a:xfrm>
              <a:off x="7555883" y="1707726"/>
              <a:ext cx="256477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矩形 21"/>
            <p:cNvSpPr/>
            <p:nvPr/>
          </p:nvSpPr>
          <p:spPr>
            <a:xfrm>
              <a:off x="233510" y="1052613"/>
              <a:ext cx="1080000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05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团队通过邮件形式向零售贷款部申报合作平台。</a:t>
              </a:r>
              <a:endParaRPr lang="zh-CN" altLang="en-US" sz="1050"/>
            </a:p>
          </p:txBody>
        </p:sp>
        <p:sp>
          <p:nvSpPr>
            <p:cNvPr id="23" name="矩形 22"/>
            <p:cNvSpPr/>
            <p:nvPr/>
          </p:nvSpPr>
          <p:spPr>
            <a:xfrm>
              <a:off x="1808685" y="1066258"/>
              <a:ext cx="1080000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风险管理部对平台进行准入审核，申报团队需配合完成资料提交、现场调查等。</a:t>
              </a:r>
            </a:p>
          </p:txBody>
        </p:sp>
        <p:sp>
          <p:nvSpPr>
            <p:cNvPr id="24" name="矩形 23"/>
            <p:cNvSpPr/>
            <p:nvPr/>
          </p:nvSpPr>
          <p:spPr>
            <a:xfrm>
              <a:off x="3383740" y="1097618"/>
              <a:ext cx="1116252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分行审核后上报总行网金</a:t>
              </a:r>
              <a:r>
                <a:rPr lang="en-US" altLang="zh-CN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BD</a:t>
              </a: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进行项目评估，明确落地实施方案。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4932040" y="1203598"/>
              <a:ext cx="1080000" cy="78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经办人按照要求提交</a:t>
              </a:r>
              <a:r>
                <a:rPr lang="en-US" altLang="zh-CN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EOA</a:t>
              </a: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立项申请。</a:t>
              </a:r>
            </a:p>
          </p:txBody>
        </p:sp>
        <p:sp>
          <p:nvSpPr>
            <p:cNvPr id="26" name="矩形 25"/>
            <p:cNvSpPr/>
            <p:nvPr/>
          </p:nvSpPr>
          <p:spPr>
            <a:xfrm>
              <a:off x="6444208" y="1203598"/>
              <a:ext cx="1080000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总行网金主导系统对接。</a:t>
              </a:r>
            </a:p>
          </p:txBody>
        </p:sp>
        <p:sp>
          <p:nvSpPr>
            <p:cNvPr id="27" name="矩形 26"/>
            <p:cNvSpPr/>
            <p:nvPr/>
          </p:nvSpPr>
          <p:spPr>
            <a:xfrm>
              <a:off x="7864168" y="1134348"/>
              <a:ext cx="1080000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满足产能要求的平台定期清退。</a:t>
              </a:r>
              <a:endParaRPr lang="en-US" altLang="zh-CN" sz="1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>
                <a:lnSpc>
                  <a:spcPct val="150000"/>
                </a:lnSpc>
              </a:pP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按要求进行定期走访。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51640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>
                  <a:latin typeface="微软雅黑" pitchFamily="34" charset="-122"/>
                  <a:ea typeface="微软雅黑" pitchFamily="34" charset="-122"/>
                </a:rPr>
                <a:t>①项目申报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814488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>
                  <a:latin typeface="微软雅黑" pitchFamily="34" charset="-122"/>
                  <a:ea typeface="微软雅黑" pitchFamily="34" charset="-122"/>
                </a:rPr>
                <a:t>②准入审核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419992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>
                  <a:latin typeface="微软雅黑" pitchFamily="34" charset="-122"/>
                  <a:ea typeface="微软雅黑" pitchFamily="34" charset="-122"/>
                </a:rPr>
                <a:t>③上报总行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933048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>
                  <a:latin typeface="微软雅黑" pitchFamily="34" charset="-122"/>
                  <a:ea typeface="微软雅黑" pitchFamily="34" charset="-122"/>
                </a:rPr>
                <a:t>④立项申请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444328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>
                  <a:latin typeface="微软雅黑" pitchFamily="34" charset="-122"/>
                  <a:ea typeface="微软雅黑" pitchFamily="34" charset="-122"/>
                </a:rPr>
                <a:t>⑤项目上线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864168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>
                  <a:latin typeface="微软雅黑" pitchFamily="34" charset="-122"/>
                  <a:ea typeface="微软雅黑" pitchFamily="34" charset="-122"/>
                </a:rPr>
                <a:t>⑥平台管理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0525432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39"/>
          <p:cNvSpPr/>
          <p:nvPr/>
        </p:nvSpPr>
        <p:spPr>
          <a:xfrm>
            <a:off x="629560" y="114186"/>
            <a:ext cx="1015661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>
                <a:solidFill>
                  <a:schemeClr val="tx1"/>
                </a:solidFill>
              </a:rPr>
              <a:t>平台管理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1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386535" y="681540"/>
            <a:ext cx="84609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产能要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平台上线后次月起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前六个月为试运营期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如前六个月中无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单月产能达到</a:t>
            </a: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做清退处理；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试运营期以后，以</a:t>
            </a: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个月为周期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进行产能考核，如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月平均产能未达到</a:t>
            </a: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做清退处理。</a:t>
            </a:r>
          </a:p>
        </p:txBody>
      </p:sp>
    </p:spTree>
    <p:extLst>
      <p:ext uri="{BB962C8B-B14F-4D97-AF65-F5344CB8AC3E}">
        <p14:creationId xmlns:p14="http://schemas.microsoft.com/office/powerpoint/2010/main" val="115114590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53899999999999992362E+00&quot;&gt;&lt;m_msothmcolidx val=&quot;0&quot;/&gt;&lt;m_rgb r=&quot;FC&quot; g=&quot;87&quot; b=&quot;12&quot;/&gt;&lt;m_nBrightness val=&quot;0&quot;/&gt;&lt;/elem&gt;&lt;elem m_fUsage=&quot;1.00000000000000000000E+00&quot;&gt;&lt;m_msothmcolidx val=&quot;0&quot;/&gt;&lt;m_rgb r=&quot;F7&quot; g=&quot;96&quot; b=&quot;46&quot;/&gt;&lt;m_nBrightness val=&quot;0&quot;/&gt;&lt;/elem&gt;&lt;elem m_fUsage=&quot;9.00000000000000022204E-01&quot;&gt;&lt;m_msothmcolidx val=&quot;0&quot;/&gt;&lt;m_rgb r=&quot;ED&quot; g=&quot;8C&quot; b=&quot;21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40000"/>
            <a:lumOff val="60000"/>
          </a:schemeClr>
        </a:solidFill>
        <a:ln>
          <a:noFill/>
        </a:ln>
      </a:spPr>
      <a:bodyPr rtlCol="0" anchor="ctr"/>
      <a:lstStyle>
        <a:defPPr>
          <a:defRPr sz="1600" smtClean="0">
            <a:solidFill>
              <a:schemeClr val="tx1"/>
            </a:solidFill>
            <a:latin typeface="华文楷体" panose="02010600040101010101" pitchFamily="2" charset="-122"/>
            <a:ea typeface="华文楷体" panose="02010600040101010101" pitchFamily="2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smtClean="0">
            <a:latin typeface="华文楷体" panose="02010600040101010101" pitchFamily="2" charset="-122"/>
            <a:ea typeface="华文楷体" panose="02010600040101010101" pitchFamily="2" charset="-122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05</TotalTime>
  <Words>811</Words>
  <Application>Microsoft Office PowerPoint</Application>
  <PresentationFormat>全屏显示(16:9)</PresentationFormat>
  <Paragraphs>83</Paragraphs>
  <Slides>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7" baseType="lpstr">
      <vt:lpstr>仿宋_GB2312</vt:lpstr>
      <vt:lpstr>华文楷体</vt:lpstr>
      <vt:lpstr>宋体</vt:lpstr>
      <vt:lpstr>微软雅黑</vt:lpstr>
      <vt:lpstr>Arial</vt:lpstr>
      <vt:lpstr>Calibri</vt:lpstr>
      <vt:lpstr>Wingdings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埃森哲</dc:creator>
  <cp:lastModifiedBy>vkthe</cp:lastModifiedBy>
  <cp:revision>1233</cp:revision>
  <cp:lastPrinted>2018-01-26T03:42:15Z</cp:lastPrinted>
  <dcterms:created xsi:type="dcterms:W3CDTF">2016-07-15T07:41:00Z</dcterms:created>
  <dcterms:modified xsi:type="dcterms:W3CDTF">2018-03-09T07:3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6-02T00:00:00Z</vt:filetime>
  </property>
  <property fmtid="{D5CDD505-2E9C-101B-9397-08002B2CF9AE}" pid="3" name="Creator">
    <vt:lpwstr>Microsoft® PowerPoint® 2013</vt:lpwstr>
  </property>
  <property fmtid="{D5CDD505-2E9C-101B-9397-08002B2CF9AE}" pid="4" name="LastSaved">
    <vt:filetime>2016-07-15T00:00:00Z</vt:filetime>
  </property>
  <property fmtid="{D5CDD505-2E9C-101B-9397-08002B2CF9AE}" pid="5" name="KSOProductBuildVer">
    <vt:lpwstr>2052-10.1.0.5850</vt:lpwstr>
  </property>
</Properties>
</file>